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660" r:id="rId2"/>
  </p:sldMasterIdLst>
  <p:notesMasterIdLst>
    <p:notesMasterId r:id="rId56"/>
  </p:notesMasterIdLst>
  <p:handoutMasterIdLst>
    <p:handoutMasterId r:id="rId57"/>
  </p:handoutMasterIdLst>
  <p:sldIdLst>
    <p:sldId id="410" r:id="rId3"/>
    <p:sldId id="411" r:id="rId4"/>
    <p:sldId id="412" r:id="rId5"/>
    <p:sldId id="413" r:id="rId6"/>
    <p:sldId id="414" r:id="rId7"/>
    <p:sldId id="415" r:id="rId8"/>
    <p:sldId id="416" r:id="rId9"/>
    <p:sldId id="417" r:id="rId10"/>
    <p:sldId id="418" r:id="rId11"/>
    <p:sldId id="419" r:id="rId12"/>
    <p:sldId id="420" r:id="rId13"/>
    <p:sldId id="421" r:id="rId14"/>
    <p:sldId id="422" r:id="rId15"/>
    <p:sldId id="423" r:id="rId16"/>
    <p:sldId id="424" r:id="rId17"/>
    <p:sldId id="425" r:id="rId18"/>
    <p:sldId id="426" r:id="rId19"/>
    <p:sldId id="427" r:id="rId20"/>
    <p:sldId id="428" r:id="rId21"/>
    <p:sldId id="429" r:id="rId22"/>
    <p:sldId id="430" r:id="rId23"/>
    <p:sldId id="431" r:id="rId24"/>
    <p:sldId id="432" r:id="rId25"/>
    <p:sldId id="433" r:id="rId26"/>
    <p:sldId id="434" r:id="rId27"/>
    <p:sldId id="435" r:id="rId28"/>
    <p:sldId id="436" r:id="rId29"/>
    <p:sldId id="437" r:id="rId30"/>
    <p:sldId id="438" r:id="rId31"/>
    <p:sldId id="439" r:id="rId32"/>
    <p:sldId id="440" r:id="rId33"/>
    <p:sldId id="441" r:id="rId34"/>
    <p:sldId id="446" r:id="rId35"/>
    <p:sldId id="447" r:id="rId36"/>
    <p:sldId id="448" r:id="rId37"/>
    <p:sldId id="449" r:id="rId38"/>
    <p:sldId id="450" r:id="rId39"/>
    <p:sldId id="451" r:id="rId40"/>
    <p:sldId id="452" r:id="rId41"/>
    <p:sldId id="453" r:id="rId42"/>
    <p:sldId id="454" r:id="rId43"/>
    <p:sldId id="455" r:id="rId44"/>
    <p:sldId id="456" r:id="rId45"/>
    <p:sldId id="457" r:id="rId46"/>
    <p:sldId id="458" r:id="rId47"/>
    <p:sldId id="459" r:id="rId48"/>
    <p:sldId id="460" r:id="rId49"/>
    <p:sldId id="470" r:id="rId50"/>
    <p:sldId id="471" r:id="rId51"/>
    <p:sldId id="472" r:id="rId52"/>
    <p:sldId id="473" r:id="rId53"/>
    <p:sldId id="474" r:id="rId54"/>
    <p:sldId id="475" r:id="rId55"/>
  </p:sldIdLst>
  <p:sldSz cx="9144000" cy="6858000" type="screen4x3"/>
  <p:notesSz cx="7010400" cy="92964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4170">
          <p15:clr>
            <a:srgbClr val="A4A3A4"/>
          </p15:clr>
        </p15:guide>
        <p15:guide id="4" orient="horz" pos="2398">
          <p15:clr>
            <a:srgbClr val="A4A3A4"/>
          </p15:clr>
        </p15:guide>
        <p15:guide id="5" pos="552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2213F"/>
    <a:srgbClr val="72B1D4"/>
    <a:srgbClr val="D0D8E8"/>
    <a:srgbClr val="10D2FF"/>
    <a:srgbClr val="F2E766"/>
    <a:srgbClr val="4CC8E1"/>
    <a:srgbClr val="173075"/>
    <a:srgbClr val="6FB7D7"/>
    <a:srgbClr val="6FA1D7"/>
    <a:srgbClr val="6BAB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588" autoAdjust="0"/>
    <p:restoredTop sz="95818" autoAdjust="0"/>
  </p:normalViewPr>
  <p:slideViewPr>
    <p:cSldViewPr snapToGrid="0" snapToObjects="1">
      <p:cViewPr varScale="1">
        <p:scale>
          <a:sx n="85" d="100"/>
          <a:sy n="85" d="100"/>
        </p:scale>
        <p:origin x="1704" y="58"/>
      </p:cViewPr>
      <p:guideLst>
        <p:guide orient="horz" pos="2160"/>
        <p:guide pos="2880"/>
        <p:guide orient="horz" pos="4170"/>
        <p:guide orient="horz" pos="2398"/>
        <p:guide pos="5529"/>
      </p:guideLst>
    </p:cSldViewPr>
  </p:slideViewPr>
  <p:outlineViewPr>
    <p:cViewPr>
      <p:scale>
        <a:sx n="33" d="100"/>
        <a:sy n="33" d="100"/>
      </p:scale>
      <p:origin x="0" y="-123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91" d="100"/>
          <a:sy n="91" d="100"/>
        </p:scale>
        <p:origin x="2966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handoutMaster" Target="handoutMasters/handoutMaster1.xml"/><Relationship Id="rId61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A6AE789F-4E85-1445-AE9F-2A800BF69798}" type="datetimeFigureOut">
              <a:rPr lang="en-US" smtClean="0"/>
              <a:t>10/25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756B5B82-A478-A641-BCD9-254457D72B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97634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07483C50-2863-4A46-831D-CAC0CABC9F59}" type="datetimeFigureOut">
              <a:rPr lang="en-US" smtClean="0"/>
              <a:t>10/25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109DBC92-98EF-AE46-AB88-4EE590D24A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62417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1100" y="696913"/>
            <a:ext cx="46482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mtClean="0"/>
              <a:t>Micron = micrometer = one-millionth of a meter = one-thousandth of a millimeter (0.001 mm or 0.000039 inches)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5B268F-7E2A-4F79-B496-533F3EBE5FD4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187196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1100" y="696913"/>
            <a:ext cx="46482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Have them</a:t>
            </a:r>
            <a:r>
              <a:rPr lang="en-US" baseline="0" dirty="0" smtClean="0"/>
              <a:t> split into teams and write down all the differences they see.   </a:t>
            </a:r>
            <a:r>
              <a:rPr lang="en-US" i="1" baseline="0" dirty="0" smtClean="0"/>
              <a:t>This is not part of the quiz totals, but designed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5B268F-7E2A-4F79-B496-533F3EBE5FD4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638134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1100" y="696913"/>
            <a:ext cx="46482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5B268F-7E2A-4F79-B496-533F3EBE5FD4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560181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1100" y="696913"/>
            <a:ext cx="46482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pPr defTabSz="931723">
              <a:defRPr/>
            </a:pPr>
            <a:r>
              <a:rPr lang="en-US" b="0" dirty="0" smtClean="0"/>
              <a:t>What</a:t>
            </a:r>
            <a:r>
              <a:rPr lang="en-US" b="0" baseline="0" dirty="0" smtClean="0"/>
              <a:t> will the audience be able to do after this training is complete?</a:t>
            </a:r>
            <a:r>
              <a:rPr lang="en-US" dirty="0" smtClean="0"/>
              <a:t> Briefly describe each objective how the audience</a:t>
            </a:r>
            <a:r>
              <a:rPr lang="en-US" baseline="0" dirty="0" smtClean="0"/>
              <a:t> </a:t>
            </a:r>
            <a:r>
              <a:rPr lang="en-US" dirty="0" smtClean="0"/>
              <a:t>will benefit from this</a:t>
            </a:r>
            <a:r>
              <a:rPr lang="en-US" baseline="0" dirty="0" smtClean="0"/>
              <a:t> presentation.</a:t>
            </a: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6EAC7D-5A89-47C2-8ABA-56C9C2DEF7A4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039505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1100" y="696913"/>
            <a:ext cx="46482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5B268F-7E2A-4F79-B496-533F3EBE5FD4}" type="slidenum">
              <a:rPr lang="en-US" smtClean="0"/>
              <a:pPr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192512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5B268F-7E2A-4F79-B496-533F3EBE5FD4}" type="slidenum">
              <a:rPr lang="en-US" smtClean="0"/>
              <a:pPr/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268492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93800" y="703263"/>
            <a:ext cx="4627563" cy="3470275"/>
          </a:xfrm>
          <a:ln/>
        </p:spPr>
      </p:sp>
      <p:sp>
        <p:nvSpPr>
          <p:cNvPr id="6451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5634" y="4416099"/>
            <a:ext cx="5139134" cy="4183995"/>
          </a:xfrm>
          <a:noFill/>
        </p:spPr>
        <p:txBody>
          <a:bodyPr/>
          <a:lstStyle/>
          <a:p>
            <a:pPr eaLnBrk="1" hangingPunct="1"/>
            <a:endParaRPr lang="en-GB" altLang="hu-HU" smtClean="0"/>
          </a:p>
        </p:txBody>
      </p:sp>
    </p:spTree>
    <p:extLst>
      <p:ext uri="{BB962C8B-B14F-4D97-AF65-F5344CB8AC3E}">
        <p14:creationId xmlns:p14="http://schemas.microsoft.com/office/powerpoint/2010/main" val="6778104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1100" y="696913"/>
            <a:ext cx="46482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mtClean="0"/>
              <a:t>Micron = micrometer = one-millionth of a meter = one-thousandth of a millimeter (0.001 mm or 0.000039 inches)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5B268F-7E2A-4F79-B496-533F3EBE5FD4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69008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5B268F-7E2A-4F79-B496-533F3EBE5FD4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31975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1100" y="696913"/>
            <a:ext cx="46482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and out a MM10</a:t>
            </a:r>
            <a:r>
              <a:rPr lang="en-US" baseline="0" dirty="0" smtClean="0"/>
              <a:t> to everyone an have them put it together; explain each of the components they see; sketch out how the neb work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5B268F-7E2A-4F79-B496-533F3EBE5FD4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50628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1100" y="696913"/>
            <a:ext cx="46482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mtClean="0"/>
              <a:t>Micron = micrometer = one-millionth of a meter = one-thousandth of a millimeter (0.001 mm or 0.000039 inches)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5B268F-7E2A-4F79-B496-533F3EBE5FD4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60652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1100" y="696913"/>
            <a:ext cx="46482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Explain that</a:t>
            </a:r>
            <a:r>
              <a:rPr lang="en-US" baseline="0" dirty="0" smtClean="0"/>
              <a:t> anything without a tee adaptor is attaching into a mask; that one comes with a Y tee adaptor and filter to limit harmful medication from going into the ambient air, the difference in the 7 foot tubing and the you-connect-it tubing, that some come with the flex tube, and that we have two </a:t>
            </a:r>
            <a:r>
              <a:rPr lang="en-US" baseline="0" dirty="0" err="1" smtClean="0"/>
              <a:t>peds</a:t>
            </a:r>
            <a:r>
              <a:rPr lang="en-US" baseline="0" dirty="0" smtClean="0"/>
              <a:t> masks and one adult mask</a:t>
            </a:r>
          </a:p>
          <a:p>
            <a:endParaRPr lang="en-US" baseline="0" dirty="0" smtClean="0"/>
          </a:p>
          <a:p>
            <a:r>
              <a:rPr lang="en-US" baseline="0" dirty="0" smtClean="0"/>
              <a:t>BREAK after this slid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5B268F-7E2A-4F79-B496-533F3EBE5FD4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928510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1100" y="696913"/>
            <a:ext cx="46482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5B268F-7E2A-4F79-B496-533F3EBE5FD4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621156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1100" y="696913"/>
            <a:ext cx="46482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5B268F-7E2A-4F79-B496-533F3EBE5FD4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879197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1100" y="696913"/>
            <a:ext cx="46482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Pass out</a:t>
            </a:r>
            <a:r>
              <a:rPr lang="en-US" baseline="0" dirty="0" smtClean="0"/>
              <a:t> sample to each and have them break out into teams.  Assemble them and write down every difference/similarity they see when compared to Misty Max 10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5B268F-7E2A-4F79-B496-533F3EBE5FD4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45288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12213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 descr="VYM_whisp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394"/>
          <a:stretch/>
        </p:blipFill>
        <p:spPr>
          <a:xfrm>
            <a:off x="0" y="7870"/>
            <a:ext cx="9144000" cy="4293503"/>
          </a:xfrm>
          <a:prstGeom prst="rect">
            <a:avLst/>
          </a:prstGeom>
        </p:spPr>
      </p:pic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57200" y="4301373"/>
            <a:ext cx="6727450" cy="5246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2400">
                <a:solidFill>
                  <a:srgbClr val="6FB7D7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8" name="Picture 7" descr="VYM_KO_logo-05.eps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24" t="27449" r="14473" b="21733"/>
          <a:stretch/>
        </p:blipFill>
        <p:spPr>
          <a:xfrm>
            <a:off x="4648343" y="1339573"/>
            <a:ext cx="4112276" cy="139855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57199" y="4775201"/>
            <a:ext cx="8239125" cy="436880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latin typeface="Arial"/>
                <a:cs typeface="Arial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16977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3" y="249553"/>
            <a:ext cx="5723467" cy="1143000"/>
          </a:xfrm>
          <a:prstGeom prst="rect">
            <a:avLst/>
          </a:prstGeom>
        </p:spPr>
        <p:txBody>
          <a:bodyPr anchor="ctr" anchorCtr="0"/>
          <a:lstStyle>
            <a:lvl1pPr algn="l">
              <a:defRPr sz="2800" b="0">
                <a:solidFill>
                  <a:srgbClr val="173075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537488"/>
            <a:ext cx="8229600" cy="4009477"/>
          </a:xfrm>
          <a:prstGeom prst="rect">
            <a:avLst/>
          </a:prstGeom>
        </p:spPr>
        <p:txBody>
          <a:bodyPr/>
          <a:lstStyle>
            <a:lvl1pPr>
              <a:buClr>
                <a:srgbClr val="72B1D4"/>
              </a:buClr>
              <a:defRPr sz="2800">
                <a:solidFill>
                  <a:schemeClr val="bg1">
                    <a:lumMod val="50000"/>
                  </a:schemeClr>
                </a:solidFill>
              </a:defRPr>
            </a:lvl1pPr>
            <a:lvl2pPr>
              <a:buClr>
                <a:srgbClr val="72B1D4"/>
              </a:buClr>
              <a:defRPr sz="2400">
                <a:solidFill>
                  <a:schemeClr val="bg1">
                    <a:lumMod val="50000"/>
                  </a:schemeClr>
                </a:solidFill>
              </a:defRPr>
            </a:lvl2pPr>
            <a:lvl3pPr>
              <a:buClr>
                <a:srgbClr val="72B1D4"/>
              </a:buClr>
              <a:defRPr>
                <a:solidFill>
                  <a:schemeClr val="bg1">
                    <a:lumMod val="50000"/>
                  </a:schemeClr>
                </a:solidFill>
              </a:defRPr>
            </a:lvl3pPr>
            <a:lvl4pPr>
              <a:buClr>
                <a:srgbClr val="72B1D4"/>
              </a:buClr>
              <a:defRPr>
                <a:solidFill>
                  <a:schemeClr val="bg1">
                    <a:lumMod val="50000"/>
                  </a:schemeClr>
                </a:solidFill>
              </a:defRPr>
            </a:lvl4pPr>
            <a:lvl5pPr>
              <a:buClr>
                <a:srgbClr val="72B1D4"/>
              </a:buClr>
              <a:defRPr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1326641" y="6433443"/>
            <a:ext cx="2420212" cy="292956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32085" y="6068319"/>
            <a:ext cx="5948585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35181" y="6447338"/>
            <a:ext cx="648733" cy="279063"/>
          </a:xfrm>
          <a:prstGeom prst="rect">
            <a:avLst/>
          </a:prstGeom>
        </p:spPr>
        <p:txBody>
          <a:bodyPr/>
          <a:lstStyle/>
          <a:p>
            <a:fld id="{5ABBDE47-A11E-FE42-85BD-DB007C88386C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1" name="Picture 10" descr="Vyaire-Wave_Final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97" t="46246" r="18599" b="31208"/>
          <a:stretch/>
        </p:blipFill>
        <p:spPr>
          <a:xfrm>
            <a:off x="6866272" y="6133810"/>
            <a:ext cx="2004401" cy="572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0848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1326641" y="6433443"/>
            <a:ext cx="2420212" cy="292956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32085" y="6068319"/>
            <a:ext cx="5948585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35181" y="6447338"/>
            <a:ext cx="648733" cy="279063"/>
          </a:xfrm>
          <a:prstGeom prst="rect">
            <a:avLst/>
          </a:prstGeom>
        </p:spPr>
        <p:txBody>
          <a:bodyPr/>
          <a:lstStyle/>
          <a:p>
            <a:fld id="{5ABBDE47-A11E-FE42-85BD-DB007C88386C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1" name="Picture 10" descr="Vyaire-Wave_Final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97" t="46246" r="18599" b="31208"/>
          <a:stretch/>
        </p:blipFill>
        <p:spPr>
          <a:xfrm>
            <a:off x="6866272" y="6133810"/>
            <a:ext cx="2004401" cy="572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25396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075770" y="6475846"/>
            <a:ext cx="7744889" cy="273844"/>
          </a:xfrm>
        </p:spPr>
        <p:txBody>
          <a:bodyPr/>
          <a:lstStyle>
            <a:lvl1pPr algn="r">
              <a:defRPr/>
            </a:lvl1pPr>
          </a:lstStyle>
          <a:p>
            <a:endParaRPr lang="en-US" dirty="0"/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235180" y="6500956"/>
            <a:ext cx="648733" cy="209297"/>
          </a:xfrm>
        </p:spPr>
        <p:txBody>
          <a:bodyPr/>
          <a:lstStyle/>
          <a:p>
            <a:fld id="{5ABBDE47-A11E-FE42-85BD-DB007C88386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 descr="Vyaire-Wave_Final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97" t="46246" r="18599" b="31208"/>
          <a:stretch/>
        </p:blipFill>
        <p:spPr>
          <a:xfrm>
            <a:off x="7507909" y="368053"/>
            <a:ext cx="1408425" cy="402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59852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72B1D4"/>
              </a:buClr>
              <a:tabLst/>
              <a:defRPr/>
            </a:lvl1pPr>
            <a:lvl2pPr>
              <a:buClr>
                <a:srgbClr val="72B1D4"/>
              </a:buClr>
              <a:defRPr/>
            </a:lvl2pPr>
            <a:lvl3pPr>
              <a:buClr>
                <a:srgbClr val="72B1D4"/>
              </a:buClr>
              <a:defRPr/>
            </a:lvl3pPr>
            <a:lvl4pPr>
              <a:buClr>
                <a:srgbClr val="72B1D4"/>
              </a:buClr>
              <a:defRPr/>
            </a:lvl4pPr>
            <a:lvl5pPr>
              <a:buClr>
                <a:srgbClr val="72B1D4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BDE47-A11E-FE42-85BD-DB007C8838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33594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buClr>
                <a:srgbClr val="72B1D4"/>
              </a:buClr>
              <a:defRPr sz="2000"/>
            </a:lvl1pPr>
            <a:lvl2pPr>
              <a:buClr>
                <a:srgbClr val="72B1D4"/>
              </a:buClr>
              <a:defRPr sz="1800"/>
            </a:lvl2pPr>
            <a:lvl3pPr>
              <a:buClr>
                <a:srgbClr val="72B1D4"/>
              </a:buClr>
              <a:defRPr sz="1800"/>
            </a:lvl3pPr>
            <a:lvl4pPr>
              <a:buClr>
                <a:srgbClr val="72B1D4"/>
              </a:buClr>
              <a:defRPr sz="1600"/>
            </a:lvl4pPr>
            <a:lvl5pPr>
              <a:buClr>
                <a:srgbClr val="72B1D4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3"/>
          </a:xfrm>
        </p:spPr>
        <p:txBody>
          <a:bodyPr anchor="b"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buClr>
                <a:srgbClr val="72B1D4"/>
              </a:buClr>
              <a:defRPr sz="2000"/>
            </a:lvl1pPr>
            <a:lvl2pPr>
              <a:buClr>
                <a:srgbClr val="72B1D4"/>
              </a:buClr>
              <a:defRPr sz="1800"/>
            </a:lvl2pPr>
            <a:lvl3pPr>
              <a:buClr>
                <a:srgbClr val="72B1D4"/>
              </a:buClr>
              <a:defRPr sz="1800"/>
            </a:lvl3pPr>
            <a:lvl4pPr>
              <a:buClr>
                <a:srgbClr val="72B1D4"/>
              </a:buClr>
              <a:defRPr sz="1600"/>
            </a:lvl4pPr>
            <a:lvl5pPr>
              <a:buClr>
                <a:srgbClr val="72B1D4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BDE47-A11E-FE42-85BD-DB007C8838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07643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BDE47-A11E-FE42-85BD-DB007C8838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50178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BDE47-A11E-FE42-85BD-DB007C8838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46770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814287-EE1A-F940-B2ED-44D8DF671BE3}" type="datetime1">
              <a:rPr lang="en-US" smtClean="0"/>
              <a:t>10/25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BDE47-A11E-FE42-85BD-DB007C8838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49143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280988"/>
            <a:ext cx="8459788" cy="99853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hu-HU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42900" y="1727200"/>
            <a:ext cx="4152900" cy="42370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u-H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727200"/>
            <a:ext cx="4154488" cy="42370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3965429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es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241667" y="209007"/>
            <a:ext cx="8660675" cy="347472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" name="Picture 5" descr="image.bmp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57383" y="3833089"/>
            <a:ext cx="8629241" cy="28637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6" y="2370907"/>
            <a:ext cx="7964487" cy="1143000"/>
          </a:xfrm>
        </p:spPr>
        <p:txBody>
          <a:bodyPr anchor="b" anchorCtr="0">
            <a:normAutofit/>
          </a:bodyPr>
          <a:lstStyle>
            <a:lvl1pPr>
              <a:defRPr sz="3600">
                <a:solidFill>
                  <a:schemeClr val="bg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71353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1326641" y="6433443"/>
            <a:ext cx="2420212" cy="292956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32084" y="6068319"/>
            <a:ext cx="8704955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35181" y="6447338"/>
            <a:ext cx="648733" cy="279063"/>
          </a:xfrm>
          <a:prstGeom prst="rect">
            <a:avLst/>
          </a:prstGeom>
        </p:spPr>
        <p:txBody>
          <a:bodyPr/>
          <a:lstStyle/>
          <a:p>
            <a:fld id="{5ABBDE47-A11E-FE42-85BD-DB007C88386C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9" name="Picture 8" descr="Vyaire-Wave_Final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827" b="20111"/>
          <a:stretch/>
        </p:blipFill>
        <p:spPr>
          <a:xfrm>
            <a:off x="-240570" y="1962034"/>
            <a:ext cx="6884468" cy="2982386"/>
          </a:xfrm>
          <a:prstGeom prst="rect">
            <a:avLst/>
          </a:prstGeom>
        </p:spPr>
      </p:pic>
      <p:pic>
        <p:nvPicPr>
          <p:cNvPr id="13" name="Picture 12" descr="Supporting Life_Alone.ai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55" t="19302" r="53440" b="33665"/>
          <a:stretch/>
        </p:blipFill>
        <p:spPr>
          <a:xfrm>
            <a:off x="5357511" y="3299806"/>
            <a:ext cx="3065129" cy="739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42728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VYM_whisp.png"/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534" t="36780" r="45463" b="44314"/>
          <a:stretch/>
        </p:blipFill>
        <p:spPr>
          <a:xfrm>
            <a:off x="0" y="5794581"/>
            <a:ext cx="9144000" cy="496024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4" y="6007448"/>
            <a:ext cx="9143999" cy="850552"/>
          </a:xfrm>
          <a:prstGeom prst="rect">
            <a:avLst/>
          </a:prstGeom>
          <a:solidFill>
            <a:srgbClr val="11203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672745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6727450" cy="39057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326641" y="6447555"/>
            <a:ext cx="2420212" cy="29295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2082" y="6082428"/>
            <a:ext cx="566174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5181" y="6461449"/>
            <a:ext cx="648733" cy="2790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E7A50C51-39D1-4540-97F5-99C459F216A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 descr="VYM_KO_logo-05.eps"/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06" t="24391" r="16139" b="21621"/>
          <a:stretch/>
        </p:blipFill>
        <p:spPr>
          <a:xfrm>
            <a:off x="6807894" y="6081064"/>
            <a:ext cx="2229192" cy="809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49704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3" r:id="rId3"/>
    <p:sldLayoutId id="2147483654" r:id="rId4"/>
    <p:sldLayoutId id="2147483655" r:id="rId5"/>
    <p:sldLayoutId id="2147483665" r:id="rId6"/>
    <p:sldLayoutId id="2147483666" r:id="rId7"/>
    <p:sldLayoutId id="2147483667" r:id="rId8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spcBef>
          <a:spcPct val="0"/>
        </a:spcBef>
        <a:buNone/>
        <a:defRPr sz="2800" b="0" i="0" kern="1200">
          <a:solidFill>
            <a:srgbClr val="173075"/>
          </a:solidFill>
          <a:latin typeface="Arial"/>
          <a:ea typeface="+mj-ea"/>
          <a:cs typeface="Arial"/>
        </a:defRPr>
      </a:lvl1pPr>
    </p:titleStyle>
    <p:bodyStyle>
      <a:lvl1pPr marL="347472" indent="-347472" algn="l" defTabSz="457200" rtl="0" eaLnBrk="1" latinLnBrk="0" hangingPunct="1">
        <a:spcBef>
          <a:spcPct val="20000"/>
        </a:spcBef>
        <a:buClr>
          <a:srgbClr val="72B1D4"/>
        </a:buClr>
        <a:buFont typeface="Arial"/>
        <a:buChar char="•"/>
        <a:defRPr sz="2400" b="0" i="0" kern="1200">
          <a:solidFill>
            <a:schemeClr val="tx1">
              <a:lumMod val="50000"/>
              <a:lumOff val="50000"/>
            </a:schemeClr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Clr>
          <a:srgbClr val="72B1D4"/>
        </a:buClr>
        <a:buFont typeface="Arial"/>
        <a:buChar char="–"/>
        <a:defRPr sz="2000" b="0" i="0" kern="1200">
          <a:solidFill>
            <a:schemeClr val="tx1">
              <a:lumMod val="50000"/>
              <a:lumOff val="50000"/>
            </a:schemeClr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Clr>
          <a:srgbClr val="72B1D4"/>
        </a:buClr>
        <a:buFont typeface="Arial"/>
        <a:buChar char="•"/>
        <a:defRPr sz="2000" b="0" i="0" kern="1200">
          <a:solidFill>
            <a:schemeClr val="tx1">
              <a:lumMod val="50000"/>
              <a:lumOff val="50000"/>
            </a:schemeClr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Clr>
          <a:srgbClr val="72B1D4"/>
        </a:buClr>
        <a:buFont typeface="Arial"/>
        <a:buChar char="–"/>
        <a:defRPr sz="2000" b="0" i="0" kern="1200">
          <a:solidFill>
            <a:schemeClr val="tx1">
              <a:lumMod val="50000"/>
              <a:lumOff val="50000"/>
            </a:schemeClr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Clr>
          <a:srgbClr val="72B1D4"/>
        </a:buClr>
        <a:buFont typeface="Arial"/>
        <a:buChar char="»"/>
        <a:defRPr sz="2000" b="0" i="0" kern="1200">
          <a:solidFill>
            <a:schemeClr val="tx1">
              <a:lumMod val="50000"/>
              <a:lumOff val="50000"/>
            </a:schemeClr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1326641" y="6433443"/>
            <a:ext cx="2420212" cy="292956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7F7F7F"/>
                </a:solidFill>
                <a:latin typeface="Arial"/>
                <a:cs typeface="Arial"/>
              </a:defRPr>
            </a:lvl1pPr>
          </a:lstStyle>
          <a:p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2082" y="6068319"/>
            <a:ext cx="868614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72B1D4"/>
                </a:solidFill>
                <a:latin typeface="Arial"/>
                <a:cs typeface="Arial"/>
              </a:defRPr>
            </a:lvl1pPr>
          </a:lstStyle>
          <a:p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5181" y="6447338"/>
            <a:ext cx="648733" cy="279063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7F7F7F"/>
                </a:solidFill>
              </a:defRPr>
            </a:lvl1pPr>
          </a:lstStyle>
          <a:p>
            <a:fld id="{5ABBDE47-A11E-FE42-85BD-DB007C88386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46694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.png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emf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4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8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0.jpe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1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32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hyperlink" Target="http://www.carefusion.com/mistyfast" TargetMode="External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arefusion.com/mistyfast" TargetMode="External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4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hyperlink" Target="http://staging.interactive.columnfivemedia.com/carefusion/misty-fast/" TargetMode="Externa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4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5.png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4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4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2.jpe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monaghanmed.com/aeroeclipse-ii-ban" TargetMode="External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3.gif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4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4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2" Type="http://schemas.openxmlformats.org/officeDocument/2006/relationships/image" Target="../media/image58.jpeg"/><Relationship Id="rId1" Type="http://schemas.openxmlformats.org/officeDocument/2006/relationships/slideLayout" Target="../slideLayouts/slideLayout4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gi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6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2006" y="1139825"/>
            <a:ext cx="7772400" cy="1470025"/>
          </a:xfrm>
        </p:spPr>
        <p:txBody>
          <a:bodyPr/>
          <a:lstStyle/>
          <a:p>
            <a:r>
              <a:rPr lang="en-GB" dirty="0" smtClean="0">
                <a:solidFill>
                  <a:schemeClr val="accent1">
                    <a:lumMod val="20000"/>
                    <a:lumOff val="80000"/>
                  </a:schemeClr>
                </a:solidFill>
              </a:rPr>
              <a:t>Medication Delivery</a:t>
            </a:r>
            <a:endParaRPr lang="en-GB" dirty="0">
              <a:solidFill>
                <a:schemeClr val="accent1">
                  <a:lumMod val="20000"/>
                  <a:lumOff val="80000"/>
                </a:schemeClr>
              </a:solidFill>
            </a:endParaRPr>
          </a:p>
        </p:txBody>
      </p:sp>
      <p:pic>
        <p:nvPicPr>
          <p:cNvPr id="4" name="Picture Placeholder 14"/>
          <p:cNvPicPr preferRelativeResize="0"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006" y="4334965"/>
            <a:ext cx="1501200" cy="2232000"/>
          </a:xfrm>
          <a:prstGeom prst="rect">
            <a:avLst/>
          </a:prstGeom>
        </p:spPr>
      </p:pic>
      <p:pic>
        <p:nvPicPr>
          <p:cNvPr id="5" name="Picture Placeholder 15"/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1360" y="4334966"/>
            <a:ext cx="1501200" cy="2232000"/>
          </a:xfrm>
          <a:prstGeom prst="rect">
            <a:avLst/>
          </a:prstGeom>
        </p:spPr>
      </p:pic>
      <p:pic>
        <p:nvPicPr>
          <p:cNvPr id="6" name="Picture Placeholder 16"/>
          <p:cNvPicPr>
            <a:picLocks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200" r="28200"/>
          <a:stretch>
            <a:fillRect/>
          </a:stretch>
        </p:blipFill>
        <p:spPr>
          <a:xfrm>
            <a:off x="3762960" y="4334965"/>
            <a:ext cx="1501200" cy="2232000"/>
          </a:xfrm>
          <a:prstGeom prst="rect">
            <a:avLst/>
          </a:prstGeom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613" t="26941" r="40712" b="4088"/>
          <a:stretch/>
        </p:blipFill>
        <p:spPr bwMode="auto">
          <a:xfrm>
            <a:off x="6934200" y="4334965"/>
            <a:ext cx="1501200" cy="223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3"/>
          <p:cNvPicPr>
            <a:picLocks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846" t="25151" r="42846" b="42425"/>
          <a:stretch/>
        </p:blipFill>
        <p:spPr bwMode="auto">
          <a:xfrm>
            <a:off x="5349844" y="4334965"/>
            <a:ext cx="1501200" cy="223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8"/>
          <p:cNvSpPr/>
          <p:nvPr/>
        </p:nvSpPr>
        <p:spPr>
          <a:xfrm>
            <a:off x="602006" y="4334965"/>
            <a:ext cx="1501200" cy="2232000"/>
          </a:xfrm>
          <a:prstGeom prst="rect">
            <a:avLst/>
          </a:prstGeom>
          <a:solidFill>
            <a:schemeClr val="bg1">
              <a:lumMod val="65000"/>
              <a:alpha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/>
          <p:cNvSpPr/>
          <p:nvPr/>
        </p:nvSpPr>
        <p:spPr>
          <a:xfrm>
            <a:off x="2191360" y="4334966"/>
            <a:ext cx="1501200" cy="2232000"/>
          </a:xfrm>
          <a:prstGeom prst="rect">
            <a:avLst/>
          </a:prstGeom>
          <a:solidFill>
            <a:schemeClr val="bg1">
              <a:lumMod val="65000"/>
              <a:alpha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/>
          <p:cNvSpPr/>
          <p:nvPr/>
        </p:nvSpPr>
        <p:spPr>
          <a:xfrm>
            <a:off x="5344512" y="4334965"/>
            <a:ext cx="1501200" cy="2232000"/>
          </a:xfrm>
          <a:prstGeom prst="rect">
            <a:avLst/>
          </a:prstGeom>
          <a:solidFill>
            <a:schemeClr val="bg1">
              <a:lumMod val="65000"/>
              <a:alpha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Rectangle 11"/>
          <p:cNvSpPr/>
          <p:nvPr/>
        </p:nvSpPr>
        <p:spPr>
          <a:xfrm>
            <a:off x="6934200" y="4334965"/>
            <a:ext cx="1501200" cy="2232000"/>
          </a:xfrm>
          <a:prstGeom prst="rect">
            <a:avLst/>
          </a:prstGeom>
          <a:solidFill>
            <a:schemeClr val="bg1">
              <a:lumMod val="65000"/>
              <a:alpha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133049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en-US" dirty="0" err="1" smtClean="0">
                <a:latin typeface="Arial" panose="020B0604020202020204" pitchFamily="34" charset="0"/>
                <a:cs typeface="Arial" panose="020B0604020202020204" pitchFamily="34" charset="0"/>
              </a:rPr>
              <a:t>Vyaire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 - 3 Types of Medication Nebulizers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57203" y="1175317"/>
            <a:ext cx="8092437" cy="45259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600" dirty="0" smtClean="0"/>
              <a:t>Small Volume Nebulizers				Jet Small Volume </a:t>
            </a:r>
            <a:r>
              <a:rPr lang="en-US" sz="1600" dirty="0" err="1" smtClean="0"/>
              <a:t>Nebuliszer</a:t>
            </a:r>
            <a:r>
              <a:rPr lang="en-US" sz="1600" dirty="0" smtClean="0"/>
              <a:t> </a:t>
            </a:r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 smtClean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 smtClean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 smtClean="0"/>
          </a:p>
          <a:p>
            <a:pPr marL="0" indent="0">
              <a:buNone/>
            </a:pPr>
            <a:endParaRPr lang="en-US" sz="1600" dirty="0" smtClean="0"/>
          </a:p>
          <a:p>
            <a:pPr marL="0" indent="0">
              <a:buNone/>
            </a:pPr>
            <a:r>
              <a:rPr lang="en-US" sz="1600" dirty="0" smtClean="0"/>
              <a:t>Continuous Nebulizers</a:t>
            </a:r>
          </a:p>
          <a:p>
            <a:endParaRPr lang="en-US" sz="1600" dirty="0"/>
          </a:p>
        </p:txBody>
      </p:sp>
      <p:pic>
        <p:nvPicPr>
          <p:cNvPr id="73732" name="Picture 4" descr="http://westmedinc.com/wp-content/uploads/2013/09/VixOne-Nebulizer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527" y="1674420"/>
            <a:ext cx="921327" cy="1693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3736" name="Picture 8" descr="http://www.medonthego.com/thumbnail.asp?file=assets/images/ab5258.jpg&amp;maxx=200&amp;maxy=200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269"/>
          <a:stretch/>
        </p:blipFill>
        <p:spPr bwMode="auto">
          <a:xfrm>
            <a:off x="1757136" y="1674420"/>
            <a:ext cx="2323524" cy="18525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3737" name="Picture 9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5251" y="3989730"/>
            <a:ext cx="1785123" cy="17851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3739" name="Picture 11" descr="http://www.carefusion.com/assets/images/our-products/respiratory-care/airlife-products/continuous-medication-nebulizers_R_AL_0815-0001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0333" y="3989730"/>
            <a:ext cx="2905453" cy="1813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19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2340" y="1767230"/>
            <a:ext cx="1902460" cy="16730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91120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5319" y="227500"/>
            <a:ext cx="8229600" cy="1143000"/>
          </a:xfrm>
        </p:spPr>
        <p:txBody>
          <a:bodyPr anchor="t">
            <a:normAutofit/>
          </a:bodyPr>
          <a:lstStyle/>
          <a:p>
            <a:pPr marL="287338" lvl="0" indent="-287338">
              <a:spcBef>
                <a:spcPct val="20000"/>
              </a:spcBef>
              <a:defRPr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Misty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Finity</a:t>
            </a:r>
            <a:r>
              <a:rPr lang="en-US" baseline="30000" dirty="0">
                <a:latin typeface="Arial" panose="020B0604020202020204" pitchFamily="34" charset="0"/>
                <a:cs typeface="Arial" panose="020B0604020202020204" pitchFamily="34" charset="0"/>
              </a:rPr>
              <a:t>®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Continuous Nebulizer</a:t>
            </a: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255319" y="1076327"/>
            <a:ext cx="8229600" cy="4752975"/>
          </a:xfrm>
          <a:prstGeom prst="rect">
            <a:avLst/>
          </a:prstGeom>
        </p:spPr>
        <p:txBody>
          <a:bodyPr/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US Annual Sales: $2.65M </a:t>
            </a:r>
            <a:endParaRPr lang="en-US" u="sng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11" descr="http://www.carefusion.com/assets/images/our-products/respiratory-care/airlife-products/continuous-medication-nebulizers_R_AL_0815-000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4644" y="2447996"/>
            <a:ext cx="5347047" cy="33366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546269" y="1545264"/>
            <a:ext cx="8431481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Small Volume: 1-2 hours of treatment time</a:t>
            </a:r>
          </a:p>
          <a:p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Medium Volume: 2-4 hours of treatment time</a:t>
            </a:r>
          </a:p>
          <a:p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Large Volume: Up to 8 hours of treatment time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971308" y="5646187"/>
            <a:ext cx="15912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u="sng" dirty="0" smtClean="0">
                <a:latin typeface="Arial" panose="020B0604020202020204" pitchFamily="34" charset="0"/>
                <a:cs typeface="Arial" panose="020B0604020202020204" pitchFamily="34" charset="0"/>
              </a:rPr>
              <a:t>Medium Volume</a:t>
            </a:r>
            <a:endParaRPr lang="en-US" sz="1200" b="1" u="sng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693226" y="5638231"/>
            <a:ext cx="15912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u="sng" dirty="0" smtClean="0">
                <a:latin typeface="Arial" panose="020B0604020202020204" pitchFamily="34" charset="0"/>
                <a:cs typeface="Arial" panose="020B0604020202020204" pitchFamily="34" charset="0"/>
              </a:rPr>
              <a:t>Small Volume</a:t>
            </a:r>
            <a:endParaRPr lang="en-US" sz="1200" b="1" u="sng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244936" y="5652079"/>
            <a:ext cx="15912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u="sng" dirty="0" smtClean="0">
                <a:latin typeface="Arial" panose="020B0604020202020204" pitchFamily="34" charset="0"/>
                <a:cs typeface="Arial" panose="020B0604020202020204" pitchFamily="34" charset="0"/>
              </a:rPr>
              <a:t>Large Volume</a:t>
            </a:r>
            <a:endParaRPr lang="en-US" sz="1200" b="1" u="sng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4730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ChangeArrowheads="1"/>
          </p:cNvSpPr>
          <p:nvPr/>
        </p:nvSpPr>
        <p:spPr bwMode="auto">
          <a:xfrm>
            <a:off x="624840" y="1057592"/>
            <a:ext cx="7402196" cy="179228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  <a:extLst/>
        </p:spPr>
        <p:txBody>
          <a:bodyPr wrap="none" anchor="t"/>
          <a:lstStyle>
            <a:lvl1pPr>
              <a:defRPr sz="3200">
                <a:solidFill>
                  <a:schemeClr val="tx1"/>
                </a:solidFill>
                <a:latin typeface="GE Inspira Pitch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GE Inspira Pitch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GE Inspira Pitch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GE Inspira Pitch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GE Inspira Pitch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GE Inspira Pitch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GE Inspira Pitch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GE Inspira Pitch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GE Inspira Pitch" pitchFamily="34" charset="0"/>
              </a:defRPr>
            </a:lvl9pPr>
          </a:lstStyle>
          <a:p>
            <a:r>
              <a:rPr lang="hu-HU" altLang="en-US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-hospital areas </a:t>
            </a:r>
            <a:r>
              <a:rPr lang="en-GB" altLang="en-US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amp;</a:t>
            </a:r>
            <a:r>
              <a:rPr lang="hu-HU" altLang="en-US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altLang="en-US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care</a:t>
            </a:r>
          </a:p>
        </p:txBody>
      </p:sp>
      <p:sp>
        <p:nvSpPr>
          <p:cNvPr id="9219" name="Rectangle 3"/>
          <p:cNvSpPr>
            <a:spLocks noChangeArrowheads="1"/>
          </p:cNvSpPr>
          <p:nvPr/>
        </p:nvSpPr>
        <p:spPr bwMode="auto">
          <a:xfrm>
            <a:off x="624840" y="3020693"/>
            <a:ext cx="7402196" cy="272478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  <a:extLst/>
        </p:spPr>
        <p:txBody>
          <a:bodyPr wrap="none" anchor="t"/>
          <a:lstStyle>
            <a:lvl1pPr>
              <a:defRPr sz="3200">
                <a:solidFill>
                  <a:schemeClr val="tx1"/>
                </a:solidFill>
                <a:latin typeface="GE Inspira Pitch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GE Inspira Pitch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GE Inspira Pitch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GE Inspira Pitch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GE Inspira Pitch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GE Inspira Pitch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GE Inspira Pitch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GE Inspira Pitch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GE Inspira Pitch" pitchFamily="34" charset="0"/>
              </a:defRPr>
            </a:lvl9pPr>
          </a:lstStyle>
          <a:p>
            <a:r>
              <a:rPr lang="en-US" alt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a-hospital </a:t>
            </a:r>
            <a:r>
              <a:rPr lang="en-US" altLang="en-US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eas</a:t>
            </a:r>
            <a:endParaRPr lang="en-US" altLang="en-US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25" name="Rectangle 9"/>
          <p:cNvSpPr>
            <a:spLocks noGrp="1" noChangeArrowheads="1"/>
          </p:cNvSpPr>
          <p:nvPr>
            <p:ph type="title"/>
          </p:nvPr>
        </p:nvSpPr>
        <p:spPr>
          <a:xfrm>
            <a:off x="457200" y="274638"/>
            <a:ext cx="8229600" cy="676274"/>
          </a:xfrm>
        </p:spPr>
        <p:txBody>
          <a:bodyPr anchor="t"/>
          <a:lstStyle/>
          <a:p>
            <a:pPr eaLnBrk="1" hangingPunct="1"/>
            <a:r>
              <a:rPr lang="fi-FI" altLang="hu-H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Where are Nebulisers used ?</a:t>
            </a:r>
            <a:endParaRPr lang="en-US" altLang="hu-HU" sz="2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4473890" y="1599249"/>
            <a:ext cx="3240000" cy="1076325"/>
          </a:xfrm>
          <a:prstGeom prst="rect">
            <a:avLst/>
          </a:prstGeom>
          <a:solidFill>
            <a:srgbClr val="7CABC9"/>
          </a:solidFill>
          <a:ln>
            <a:solidFill>
              <a:srgbClr val="7CABC9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bulances / </a:t>
            </a: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amedics</a:t>
            </a:r>
          </a:p>
          <a:p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support breathing &amp; deliver aerosolized drugs</a:t>
            </a:r>
          </a:p>
        </p:txBody>
      </p:sp>
      <p:sp>
        <p:nvSpPr>
          <p:cNvPr id="4" name="Rectangle 3"/>
          <p:cNvSpPr/>
          <p:nvPr/>
        </p:nvSpPr>
        <p:spPr>
          <a:xfrm>
            <a:off x="904873" y="1599249"/>
            <a:ext cx="3240000" cy="1076325"/>
          </a:xfrm>
          <a:prstGeom prst="rect">
            <a:avLst/>
          </a:prstGeom>
          <a:solidFill>
            <a:srgbClr val="7CABC9"/>
          </a:solidFill>
          <a:ln>
            <a:solidFill>
              <a:srgbClr val="7CABC9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 to treat; Chronic Asthma &amp; Chronic </a:t>
            </a: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lmonary </a:t>
            </a:r>
            <a:r>
              <a:rPr lang="en-US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ease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904873" y="3468686"/>
            <a:ext cx="3240000" cy="99790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Emergency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To support patient’s Respiratory distress</a:t>
            </a:r>
          </a:p>
        </p:txBody>
      </p:sp>
      <p:sp>
        <p:nvSpPr>
          <p:cNvPr id="6" name="Rectangle 5"/>
          <p:cNvSpPr/>
          <p:nvPr/>
        </p:nvSpPr>
        <p:spPr>
          <a:xfrm>
            <a:off x="4473890" y="3493770"/>
            <a:ext cx="3240001" cy="97282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tepdown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units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Continue drug delivery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Maintenance of disease</a:t>
            </a:r>
          </a:p>
        </p:txBody>
      </p:sp>
      <p:sp>
        <p:nvSpPr>
          <p:cNvPr id="7" name="Rectangle 6"/>
          <p:cNvSpPr/>
          <p:nvPr/>
        </p:nvSpPr>
        <p:spPr>
          <a:xfrm>
            <a:off x="904873" y="4581206"/>
            <a:ext cx="3240000" cy="99790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GB" sz="1600" b="1" dirty="0">
                <a:latin typeface="Arial" panose="020B0604020202020204" pitchFamily="34" charset="0"/>
                <a:cs typeface="Arial" panose="020B0604020202020204" pitchFamily="34" charset="0"/>
              </a:rPr>
              <a:t>ICU</a:t>
            </a:r>
          </a:p>
          <a:p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Deliver </a:t>
            </a:r>
            <a:r>
              <a:rPr lang="en-GB" sz="1600" dirty="0" err="1">
                <a:latin typeface="Arial" panose="020B0604020202020204" pitchFamily="34" charset="0"/>
                <a:cs typeface="Arial" panose="020B0604020202020204" pitchFamily="34" charset="0"/>
              </a:rPr>
              <a:t>Sufactant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to maintain </a:t>
            </a:r>
            <a:r>
              <a:rPr lang="en-GB" sz="1600" dirty="0" err="1">
                <a:latin typeface="Arial" panose="020B0604020202020204" pitchFamily="34" charset="0"/>
                <a:cs typeface="Arial" panose="020B0604020202020204" pitchFamily="34" charset="0"/>
              </a:rPr>
              <a:t>Alveola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integrity</a:t>
            </a:r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473890" y="4581206"/>
            <a:ext cx="3240000" cy="99790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Respiratory wards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Support Cystic fibrosis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Control &amp; stabilize asthma</a:t>
            </a:r>
          </a:p>
        </p:txBody>
      </p:sp>
    </p:spTree>
    <p:extLst>
      <p:ext uri="{BB962C8B-B14F-4D97-AF65-F5344CB8AC3E}">
        <p14:creationId xmlns:p14="http://schemas.microsoft.com/office/powerpoint/2010/main" val="335572021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702220" y="4192955"/>
            <a:ext cx="8029801" cy="15866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b="1" kern="1200">
                <a:solidFill>
                  <a:srgbClr val="242852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US" sz="2800" dirty="0" smtClean="0">
                <a:solidFill>
                  <a:schemeClr val="accent1">
                    <a:lumMod val="20000"/>
                    <a:lumOff val="80000"/>
                  </a:schemeClr>
                </a:solidFill>
              </a:rPr>
              <a:t>Medication Nebulizers</a:t>
            </a:r>
            <a:br>
              <a:rPr lang="en-US" sz="2800" dirty="0" smtClean="0">
                <a:solidFill>
                  <a:schemeClr val="accent1">
                    <a:lumMod val="20000"/>
                    <a:lumOff val="80000"/>
                  </a:schemeClr>
                </a:solidFill>
              </a:rPr>
            </a:br>
            <a:r>
              <a:rPr lang="en-US" sz="2800" dirty="0" smtClean="0">
                <a:solidFill>
                  <a:schemeClr val="accent1">
                    <a:lumMod val="20000"/>
                    <a:lumOff val="80000"/>
                  </a:schemeClr>
                </a:solidFill>
              </a:rPr>
              <a:t>	</a:t>
            </a:r>
            <a:r>
              <a:rPr lang="en-US" sz="2000" dirty="0" smtClean="0">
                <a:solidFill>
                  <a:schemeClr val="accent1">
                    <a:lumMod val="20000"/>
                    <a:lumOff val="80000"/>
                  </a:schemeClr>
                </a:solidFill>
              </a:rPr>
              <a:t>Small Volume Nebulizers</a:t>
            </a:r>
            <a:br>
              <a:rPr lang="en-US" sz="2000" dirty="0" smtClean="0">
                <a:solidFill>
                  <a:schemeClr val="accent1">
                    <a:lumMod val="20000"/>
                    <a:lumOff val="80000"/>
                  </a:schemeClr>
                </a:solidFill>
              </a:rPr>
            </a:br>
            <a:r>
              <a:rPr lang="en-US" sz="2000" dirty="0" smtClean="0">
                <a:solidFill>
                  <a:schemeClr val="accent1">
                    <a:lumMod val="20000"/>
                    <a:lumOff val="80000"/>
                  </a:schemeClr>
                </a:solidFill>
              </a:rPr>
              <a:t>	</a:t>
            </a:r>
            <a:endParaRPr lang="en-US" sz="2000" dirty="0">
              <a:solidFill>
                <a:schemeClr val="accent1">
                  <a:lumMod val="20000"/>
                  <a:lumOff val="8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86199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Small Volume Nebulizer Setup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t>© 2015 CareFusion Corporation or one of its subsidiaries. All rights reserved.</a:t>
            </a:r>
            <a:endParaRPr 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457200" y="1076327"/>
            <a:ext cx="8229600" cy="4752975"/>
          </a:xfrm>
          <a:prstGeom prst="rect">
            <a:avLst/>
          </a:prstGeom>
        </p:spPr>
        <p:txBody>
          <a:bodyPr/>
          <a:lstStyle/>
          <a:p>
            <a:pPr marL="287338" marR="0" lvl="0" indent="-28733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i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Connect oxygen tube to the gas source and to the bottom of the SVN</a:t>
            </a:r>
          </a:p>
          <a:p>
            <a:pPr marL="287338" marR="0" lvl="0" indent="-28733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en-US" sz="7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Connect the top of the SVN to a T-piece</a:t>
            </a:r>
          </a:p>
          <a:p>
            <a:pPr marL="287338" marR="0" lvl="0" indent="-28733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en-US" sz="7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Connect the 6” flex tube to one end of the T-piece, and the mouthpiece attached to the other end</a:t>
            </a:r>
          </a:p>
          <a:p>
            <a:pPr marL="287338" marR="0" lvl="0" indent="-28733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en-US" sz="7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If the patient is unable to use a mouthpiece, the SVN can be                                               attached to an aerosol mask</a:t>
            </a:r>
          </a:p>
          <a:p>
            <a:pPr marL="287338" marR="0" lvl="0" indent="-28733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10" descr="DSCN1162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893824" y="3452814"/>
            <a:ext cx="2615096" cy="2314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4503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en-US" dirty="0" smtClean="0">
                <a:latin typeface="+mj-lt"/>
              </a:rPr>
              <a:t>How does a nebulizer work?</a:t>
            </a:r>
            <a:endParaRPr lang="en-US" dirty="0">
              <a:latin typeface="+mj-lt"/>
            </a:endParaRP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457200" y="1076327"/>
            <a:ext cx="8229600" cy="4752975"/>
          </a:xfrm>
          <a:prstGeom prst="rect">
            <a:avLst/>
          </a:prstGeom>
        </p:spPr>
        <p:txBody>
          <a:bodyPr/>
          <a:lstStyle/>
          <a:p>
            <a:pPr marL="342900" indent="-342900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endParaRPr lang="en-US" sz="2400" b="1" dirty="0" smtClean="0">
              <a:solidFill>
                <a:srgbClr val="3B6E8F"/>
              </a:solidFill>
            </a:endParaRPr>
          </a:p>
        </p:txBody>
      </p:sp>
      <p:pic>
        <p:nvPicPr>
          <p:cNvPr id="8" name="Picture 2" descr="http://images.slideplayer.com/17/5284350/slides/slide_24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0" t="19671" r="51638" b="15437"/>
          <a:stretch/>
        </p:blipFill>
        <p:spPr bwMode="auto">
          <a:xfrm>
            <a:off x="3681352" y="1036673"/>
            <a:ext cx="4303531" cy="47926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3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691" t="4299" r="30369" b="5098"/>
          <a:stretch/>
        </p:blipFill>
        <p:spPr bwMode="auto">
          <a:xfrm>
            <a:off x="1187532" y="1036673"/>
            <a:ext cx="2034686" cy="45029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24334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Medication Nebulizer Key Terms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t>© 2013 CareFusion Corporation or one of its subsidiaries. All rights reserved.</a:t>
            </a:r>
            <a:endParaRPr 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554858" y="1120259"/>
            <a:ext cx="7772400" cy="5039467"/>
          </a:xfrm>
          <a:prstGeom prst="rect">
            <a:avLst/>
          </a:prstGeom>
        </p:spPr>
        <p:txBody>
          <a:bodyPr/>
          <a:lstStyle/>
          <a:p>
            <a:pPr marL="287338" lvl="0" indent="-287338">
              <a:spcBef>
                <a:spcPct val="20000"/>
              </a:spcBef>
              <a:defRPr/>
            </a:pPr>
            <a:endParaRPr lang="en-US" sz="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7338" lvl="0" indent="-287338">
              <a:spcBef>
                <a:spcPct val="20000"/>
              </a:spcBef>
              <a:defRPr/>
            </a:pPr>
            <a:endParaRPr lang="en-US" sz="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7338" lvl="0" indent="-287338">
              <a:spcBef>
                <a:spcPct val="20000"/>
              </a:spcBef>
              <a:defRPr/>
            </a:pPr>
            <a:r>
              <a:rPr lang="en-US" sz="16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ss Median Aerodynamic Diameter (MMAD)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= Considered to be the average particle diameter by mass</a:t>
            </a:r>
          </a:p>
          <a:p>
            <a:pPr marL="287338" lvl="0" indent="-287338">
              <a:spcBef>
                <a:spcPct val="20000"/>
              </a:spcBef>
              <a:defRPr/>
            </a:pPr>
            <a:endParaRPr lang="en-US" sz="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7338" indent="-287338">
              <a:spcBef>
                <a:spcPct val="20000"/>
              </a:spcBef>
              <a:defRPr/>
            </a:pPr>
            <a:r>
              <a:rPr lang="en-US" sz="16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pirable Fraction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= The fraction of the inhaled particles that penetrates into the alveolar region of the lung </a:t>
            </a:r>
            <a:r>
              <a:rPr lang="en-US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(1-5 microns)</a:t>
            </a:r>
          </a:p>
          <a:p>
            <a:pPr marL="287338" indent="-287338">
              <a:spcBef>
                <a:spcPct val="20000"/>
              </a:spcBef>
              <a:defRPr/>
            </a:pPr>
            <a:endParaRPr lang="en-US" sz="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7338" indent="-287338">
              <a:spcBef>
                <a:spcPct val="20000"/>
              </a:spcBef>
              <a:defRPr/>
            </a:pPr>
            <a:r>
              <a:rPr lang="en-US" sz="16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idual/Remaining Drug Volume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= Medication that remains in a small volume nebulizer after the device is no longer producing mist</a:t>
            </a:r>
          </a:p>
          <a:p>
            <a:pPr marL="287338" indent="-287338">
              <a:spcBef>
                <a:spcPct val="20000"/>
              </a:spcBef>
              <a:defRPr/>
            </a:pPr>
            <a:endParaRPr lang="en-US" sz="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7338" indent="-287338">
              <a:spcBef>
                <a:spcPct val="20000"/>
              </a:spcBef>
              <a:defRPr/>
            </a:pPr>
            <a:r>
              <a:rPr lang="en-US" sz="16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eatment Time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= Refers to how long it took to administer the dose of medication</a:t>
            </a:r>
          </a:p>
        </p:txBody>
      </p:sp>
    </p:spTree>
    <p:extLst>
      <p:ext uri="{BB962C8B-B14F-4D97-AF65-F5344CB8AC3E}">
        <p14:creationId xmlns:p14="http://schemas.microsoft.com/office/powerpoint/2010/main" val="1675636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6760346" cy="1143000"/>
          </a:xfrm>
        </p:spPr>
        <p:txBody>
          <a:bodyPr anchor="t"/>
          <a:lstStyle/>
          <a:p>
            <a:r>
              <a:rPr lang="en-GB" dirty="0" smtClean="0">
                <a:latin typeface="Arial" panose="020B0604020202020204" pitchFamily="34" charset="0"/>
                <a:cs typeface="Arial" panose="020B0604020202020204" pitchFamily="34" charset="0"/>
              </a:rPr>
              <a:t>MMAD – Mass Median Aerodynamic Diameter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t>© 2015 CareFusion Corporation or one of its subsidiaries. All rights reserved.</a:t>
            </a:r>
            <a:endParaRPr lang="en-US" sz="1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86854" y="1651379"/>
            <a:ext cx="797029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Not all averages are equal.</a:t>
            </a:r>
          </a:p>
          <a:p>
            <a:endParaRPr lang="en-GB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Mode 	= 	most frequent</a:t>
            </a:r>
          </a:p>
          <a:p>
            <a:r>
              <a:rPr lang="en-GB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Median = 	in the centre of the distribution</a:t>
            </a:r>
          </a:p>
          <a:p>
            <a:r>
              <a:rPr lang="en-GB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Mean 	= 	total sum / sample size</a:t>
            </a:r>
            <a:endParaRPr lang="en-GB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86854" y="2964733"/>
            <a:ext cx="797029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1,1,1,1,2,2,2,2,3,3,3,3,4,4,4,4,5,5,5,5,6,6,6,6,7,7,7,7,7,8,8,8,8</a:t>
            </a:r>
            <a:endParaRPr lang="en-GB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23818" y="4607172"/>
            <a:ext cx="398514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Mean</a:t>
            </a:r>
          </a:p>
          <a:p>
            <a:r>
              <a:rPr lang="en-GB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Sum 	= 	151</a:t>
            </a:r>
          </a:p>
          <a:p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Count 	= 	33</a:t>
            </a:r>
          </a:p>
          <a:p>
            <a:endParaRPr lang="en-GB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151 / 33 = 4.58</a:t>
            </a:r>
            <a:endParaRPr lang="en-GB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1" name="Group 20"/>
          <p:cNvGrpSpPr/>
          <p:nvPr/>
        </p:nvGrpSpPr>
        <p:grpSpPr>
          <a:xfrm>
            <a:off x="5274859" y="2758337"/>
            <a:ext cx="1542198" cy="942370"/>
            <a:chOff x="6155138" y="3128707"/>
            <a:chExt cx="1542198" cy="942370"/>
          </a:xfrm>
        </p:grpSpPr>
        <p:sp>
          <p:nvSpPr>
            <p:cNvPr id="9" name="Oval 8"/>
            <p:cNvSpPr/>
            <p:nvPr/>
          </p:nvSpPr>
          <p:spPr>
            <a:xfrm>
              <a:off x="6356631" y="3128707"/>
              <a:ext cx="643094" cy="638075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100" dirty="0" smtClean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6155138" y="3794078"/>
              <a:ext cx="154219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Mode</a:t>
              </a:r>
              <a:endParaRPr lang="en-GB" sz="12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3782901" y="3334066"/>
            <a:ext cx="1542198" cy="739169"/>
            <a:chOff x="3596185" y="3644796"/>
            <a:chExt cx="1542198" cy="739169"/>
          </a:xfrm>
        </p:grpSpPr>
        <p:cxnSp>
          <p:nvCxnSpPr>
            <p:cNvPr id="12" name="Straight Arrow Connector 11"/>
            <p:cNvCxnSpPr/>
            <p:nvPr/>
          </p:nvCxnSpPr>
          <p:spPr>
            <a:xfrm flipV="1">
              <a:off x="4367284" y="3644796"/>
              <a:ext cx="0" cy="333948"/>
            </a:xfrm>
            <a:prstGeom prst="straightConnector1">
              <a:avLst/>
            </a:prstGeom>
            <a:ln w="28575">
              <a:solidFill>
                <a:schemeClr val="tx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TextBox 13"/>
            <p:cNvSpPr txBox="1"/>
            <p:nvPr/>
          </p:nvSpPr>
          <p:spPr>
            <a:xfrm>
              <a:off x="3596185" y="4106966"/>
              <a:ext cx="154219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Median</a:t>
              </a:r>
              <a:endParaRPr lang="en-GB" sz="12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9" name="Left Arrow 18"/>
          <p:cNvSpPr/>
          <p:nvPr/>
        </p:nvSpPr>
        <p:spPr>
          <a:xfrm>
            <a:off x="2156194" y="4072986"/>
            <a:ext cx="2377710" cy="450000"/>
          </a:xfrm>
          <a:prstGeom prst="leftArrow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dirty="0" smtClean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% below</a:t>
            </a:r>
          </a:p>
        </p:txBody>
      </p:sp>
      <p:sp>
        <p:nvSpPr>
          <p:cNvPr id="20" name="Left Arrow 19"/>
          <p:cNvSpPr/>
          <p:nvPr/>
        </p:nvSpPr>
        <p:spPr>
          <a:xfrm flipH="1">
            <a:off x="4608964" y="4072986"/>
            <a:ext cx="2651792" cy="450000"/>
          </a:xfrm>
          <a:prstGeom prst="leftArrow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dirty="0" smtClean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% Above</a:t>
            </a:r>
          </a:p>
        </p:txBody>
      </p:sp>
    </p:spTree>
    <p:extLst>
      <p:ext uri="{BB962C8B-B14F-4D97-AF65-F5344CB8AC3E}">
        <p14:creationId xmlns:p14="http://schemas.microsoft.com/office/powerpoint/2010/main" val="2555577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8" grpId="0"/>
      <p:bldP spid="19" grpId="0" animBg="1"/>
      <p:bldP spid="20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Air</a:t>
            </a:r>
            <a:r>
              <a:rPr lang="en-US" i="1" dirty="0" smtClean="0">
                <a:latin typeface="Arial" panose="020B0604020202020204" pitchFamily="34" charset="0"/>
                <a:cs typeface="Arial" panose="020B0604020202020204" pitchFamily="34" charset="0"/>
              </a:rPr>
              <a:t>Life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 Medication Delivery Products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477980" y="1016949"/>
            <a:ext cx="7202384" cy="4813835"/>
          </a:xfrm>
          <a:prstGeom prst="rect">
            <a:avLst/>
          </a:prstGeom>
        </p:spPr>
        <p:txBody>
          <a:bodyPr/>
          <a:lstStyle/>
          <a:p>
            <a:pPr marL="287338" marR="0" lvl="0" indent="-287338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z 1</a:t>
            </a:r>
            <a:endParaRPr lang="en-US" sz="20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US" sz="1600" b="1" i="0" u="none" strike="noStrike" kern="1200" cap="none" spc="0" normalizeH="0" noProof="0" dirty="0" smtClean="0">
              <a:ln>
                <a:noFill/>
              </a:ln>
              <a:solidFill>
                <a:srgbClr val="3B6E8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What is MMAD?</a:t>
            </a:r>
          </a:p>
          <a:p>
            <a:pPr lvl="0">
              <a:spcBef>
                <a:spcPct val="20000"/>
              </a:spcBef>
              <a:defRPr/>
            </a:pPr>
            <a:r>
              <a:rPr lang="en-GB" sz="14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ss </a:t>
            </a:r>
            <a:r>
              <a:rPr lang="en-GB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dian Aerodynamic </a:t>
            </a:r>
            <a:r>
              <a:rPr lang="en-GB" sz="14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ameter</a:t>
            </a:r>
          </a:p>
          <a:p>
            <a:pPr lvl="0">
              <a:spcBef>
                <a:spcPct val="20000"/>
              </a:spcBef>
              <a:defRPr/>
            </a:pPr>
            <a:endParaRPr lang="en-US" sz="14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ct val="20000"/>
              </a:spcBef>
              <a:defRPr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What is the desired particle size range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ct val="20000"/>
              </a:spcBef>
              <a:defRPr/>
            </a:pPr>
            <a:r>
              <a:rPr lang="en-GB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- 5</a:t>
            </a:r>
            <a:r>
              <a:rPr lang="el-GR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μ</a:t>
            </a:r>
            <a:r>
              <a:rPr lang="en-GB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 </a:t>
            </a:r>
            <a:endParaRPr lang="en-GB" sz="14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ct val="20000"/>
              </a:spcBef>
              <a:defRPr/>
            </a:pPr>
            <a:endParaRPr lang="en-US" sz="140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What is “respirable fraction?”</a:t>
            </a:r>
          </a:p>
          <a:p>
            <a:pPr lvl="0">
              <a:spcBef>
                <a:spcPct val="20000"/>
              </a:spcBef>
              <a:defRPr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haled particles that penetrates into the </a:t>
            </a:r>
            <a:r>
              <a:rPr lang="en-US" sz="14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veoli</a:t>
            </a:r>
            <a:endParaRPr lang="en-US" sz="140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What are the three </a:t>
            </a:r>
            <a:r>
              <a:rPr lang="en-US" sz="1600" i="1" dirty="0" smtClean="0">
                <a:latin typeface="Arial" panose="020B0604020202020204" pitchFamily="34" charset="0"/>
                <a:cs typeface="Arial" panose="020B0604020202020204" pitchFamily="34" charset="0"/>
              </a:rPr>
              <a:t>types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of medications most often used in a nebulizer (not the three generic names)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4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buterol Sulfate, Budesonide, </a:t>
            </a:r>
            <a:r>
              <a:rPr lang="en-US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molyn</a:t>
            </a:r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dium</a:t>
            </a:r>
          </a:p>
          <a:p>
            <a:pPr lvl="1">
              <a:spcBef>
                <a:spcPct val="20000"/>
              </a:spcBef>
              <a:defRPr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spcBef>
                <a:spcPct val="20000"/>
              </a:spcBef>
              <a:defRPr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spcBef>
                <a:spcPct val="20000"/>
              </a:spcBef>
              <a:defRPr/>
            </a:pPr>
            <a:endParaRPr lang="en-US" sz="1600" i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52636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Misty Max 10 Details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691" t="4299" r="30369" b="1655"/>
          <a:stretch/>
        </p:blipFill>
        <p:spPr bwMode="auto">
          <a:xfrm>
            <a:off x="5811189" y="1028424"/>
            <a:ext cx="2106766" cy="48397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46264" y="1615047"/>
            <a:ext cx="5499693" cy="31454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Launched in 2004</a:t>
            </a:r>
          </a:p>
          <a:p>
            <a:endParaRPr lang="en-US" sz="16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8 million units sold each year in U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i="1" dirty="0" smtClean="0">
                <a:latin typeface="Arial" panose="020B0604020202020204" pitchFamily="34" charset="0"/>
                <a:cs typeface="Arial" panose="020B0604020202020204" pitchFamily="34" charset="0"/>
              </a:rPr>
              <a:t>Largest selling small volume nebulizer in the United Stat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400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400" i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600" b="1" i="1" u="sng" dirty="0" smtClean="0">
                <a:latin typeface="Arial" panose="020B0604020202020204" pitchFamily="34" charset="0"/>
                <a:cs typeface="Arial" panose="020B0604020202020204" pitchFamily="34" charset="0"/>
              </a:rPr>
              <a:t>Performance Specifications</a:t>
            </a:r>
          </a:p>
          <a:p>
            <a:pPr marL="744538" lvl="1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MMAD =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1.6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µ</a:t>
            </a:r>
          </a:p>
          <a:p>
            <a:pPr marL="744538" lvl="1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% particles 1µ&gt;5µ: 85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</a:p>
          <a:p>
            <a:pPr marL="744538" lvl="1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Treatment time: 8 to 10 minutes in a non-controlled clinical setting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400" i="1" u="sng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0067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Agenda</a:t>
            </a:r>
            <a:b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8316"/>
            <a:ext cx="8229600" cy="4525963"/>
          </a:xfrm>
        </p:spPr>
        <p:txBody>
          <a:bodyPr>
            <a:normAutofit/>
          </a:bodyPr>
          <a:lstStyle/>
          <a:p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Nebulizer overview</a:t>
            </a:r>
          </a:p>
          <a:p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Where used</a:t>
            </a:r>
          </a:p>
          <a:p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Small Volume Nebulizers</a:t>
            </a:r>
          </a:p>
          <a:p>
            <a:pPr lvl="1"/>
            <a:r>
              <a:rPr 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Nebulizer Setup and Components</a:t>
            </a:r>
          </a:p>
          <a:p>
            <a:pPr lvl="1"/>
            <a:r>
              <a:rPr 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Key Components and Terms</a:t>
            </a:r>
          </a:p>
          <a:p>
            <a:pPr lvl="1"/>
            <a:r>
              <a:rPr 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CareFusion SVN Brands</a:t>
            </a:r>
          </a:p>
          <a:p>
            <a:pPr lvl="1"/>
            <a:r>
              <a:rPr 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High Efficiency Nebulizers</a:t>
            </a:r>
          </a:p>
          <a:p>
            <a:pPr lvl="1"/>
            <a:r>
              <a:rPr 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Competitive Landscape</a:t>
            </a:r>
          </a:p>
          <a:p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Continuous Nebulizers</a:t>
            </a:r>
          </a:p>
          <a:p>
            <a:pPr marL="287338" lvl="1" indent="0">
              <a:buNone/>
            </a:pPr>
            <a:endParaRPr lang="en-US" sz="1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en-US" sz="1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en-US" sz="1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5484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293033" y="1934488"/>
            <a:ext cx="1104405" cy="246221"/>
            <a:chOff x="227821" y="1934488"/>
            <a:chExt cx="1104405" cy="246221"/>
          </a:xfrm>
        </p:grpSpPr>
        <p:sp>
          <p:nvSpPr>
            <p:cNvPr id="6" name="Right Arrow 5"/>
            <p:cNvSpPr/>
            <p:nvPr/>
          </p:nvSpPr>
          <p:spPr>
            <a:xfrm>
              <a:off x="310492" y="1934488"/>
              <a:ext cx="808439" cy="246221"/>
            </a:xfrm>
            <a:prstGeom prst="rightArrow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smtClean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227821" y="1934488"/>
              <a:ext cx="110440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dirty="0" smtClean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5% units</a:t>
              </a:r>
              <a:endParaRPr lang="en-US" sz="1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Misty Max 10 Codes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38567884"/>
              </p:ext>
            </p:extLst>
          </p:nvPr>
        </p:nvGraphicFramePr>
        <p:xfrm>
          <a:off x="1193404" y="1047500"/>
          <a:ext cx="6982929" cy="4785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75881"/>
                <a:gridCol w="775881"/>
                <a:gridCol w="775881"/>
                <a:gridCol w="775881"/>
                <a:gridCol w="775881"/>
                <a:gridCol w="775881"/>
                <a:gridCol w="775881"/>
                <a:gridCol w="775881"/>
                <a:gridCol w="775881"/>
              </a:tblGrid>
              <a:tr h="380115"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P/N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smtClean="0"/>
                        <a:t>MM10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smtClean="0"/>
                        <a:t>Tee adapter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smtClean="0"/>
                        <a:t>O2  tubing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smtClean="0"/>
                        <a:t>Mouth piece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smtClean="0"/>
                        <a:t>Flex tube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smtClean="0"/>
                        <a:t>Filter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Ped</a:t>
                      </a:r>
                      <a:r>
                        <a:rPr lang="en-US" sz="1000" baseline="0" dirty="0" smtClean="0"/>
                        <a:t> Mask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smtClean="0"/>
                        <a:t>Adult Mask</a:t>
                      </a:r>
                      <a:endParaRPr lang="en-US" sz="1000"/>
                    </a:p>
                  </a:txBody>
                  <a:tcPr/>
                </a:tc>
              </a:tr>
              <a:tr h="216000"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0024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smtClean="0"/>
                        <a:t>X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</a:tr>
              <a:tr h="216000">
                <a:tc>
                  <a:txBody>
                    <a:bodyPr/>
                    <a:lstStyle/>
                    <a:p>
                      <a:r>
                        <a:rPr lang="en-US" sz="1000" smtClean="0"/>
                        <a:t>002431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smtClean="0"/>
                        <a:t>X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smtClean="0"/>
                        <a:t>M/M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</a:tr>
              <a:tr h="216000">
                <a:tc>
                  <a:txBody>
                    <a:bodyPr/>
                    <a:lstStyle/>
                    <a:p>
                      <a:r>
                        <a:rPr lang="en-US" sz="1000" smtClean="0"/>
                        <a:t>002434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X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smtClean="0"/>
                        <a:t>M/M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smtClean="0"/>
                        <a:t>7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smtClean="0"/>
                        <a:t>X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/>
                </a:tc>
              </a:tr>
              <a:tr h="216000">
                <a:tc>
                  <a:txBody>
                    <a:bodyPr/>
                    <a:lstStyle/>
                    <a:p>
                      <a:r>
                        <a:rPr lang="en-US" sz="1000" smtClean="0"/>
                        <a:t>002435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smtClean="0"/>
                        <a:t>X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smtClean="0"/>
                        <a:t>M/F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smtClean="0"/>
                        <a:t>7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smtClean="0"/>
                        <a:t>X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>
                          <a:solidFill>
                            <a:schemeClr val="tx1"/>
                          </a:solidFill>
                        </a:rPr>
                        <a:t>X</a:t>
                      </a:r>
                      <a:endParaRPr lang="en-US" sz="10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</a:tr>
              <a:tr h="216000">
                <a:tc>
                  <a:txBody>
                    <a:bodyPr/>
                    <a:lstStyle/>
                    <a:p>
                      <a:r>
                        <a:rPr lang="en-US" sz="1000" smtClean="0"/>
                        <a:t>002437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smtClean="0"/>
                        <a:t>X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smtClean="0"/>
                        <a:t>M/M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smtClean="0"/>
                        <a:t>X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</a:tr>
              <a:tr h="216000">
                <a:tc>
                  <a:txBody>
                    <a:bodyPr/>
                    <a:lstStyle/>
                    <a:p>
                      <a:r>
                        <a:rPr lang="en-US" sz="1000" smtClean="0"/>
                        <a:t>002438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X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smtClean="0"/>
                        <a:t>M/M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smtClean="0"/>
                        <a:t>7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smtClean="0"/>
                        <a:t>X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smtClean="0"/>
                        <a:t>X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</a:tr>
              <a:tr h="216000">
                <a:tc>
                  <a:txBody>
                    <a:bodyPr/>
                    <a:lstStyle/>
                    <a:p>
                      <a:r>
                        <a:rPr lang="en-US" sz="1000" smtClean="0"/>
                        <a:t>002439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X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smtClean="0"/>
                        <a:t>M/M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smtClean="0"/>
                        <a:t>14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smtClean="0"/>
                        <a:t>X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smtClean="0"/>
                        <a:t>X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</a:tr>
              <a:tr h="216000">
                <a:tc>
                  <a:txBody>
                    <a:bodyPr/>
                    <a:lstStyle/>
                    <a:p>
                      <a:r>
                        <a:rPr lang="en-US" sz="1000" smtClean="0"/>
                        <a:t>002442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smtClean="0"/>
                        <a:t>X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smtClean="0"/>
                        <a:t>M/M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</a:tr>
              <a:tr h="216000">
                <a:tc>
                  <a:txBody>
                    <a:bodyPr/>
                    <a:lstStyle/>
                    <a:p>
                      <a:r>
                        <a:rPr lang="en-US" sz="1000" smtClean="0"/>
                        <a:t>002445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smtClean="0"/>
                        <a:t>X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smtClean="0"/>
                        <a:t>M/M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smtClean="0"/>
                        <a:t>7-UC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smtClean="0"/>
                        <a:t>X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</a:tr>
              <a:tr h="216000">
                <a:tc>
                  <a:txBody>
                    <a:bodyPr/>
                    <a:lstStyle/>
                    <a:p>
                      <a:r>
                        <a:rPr lang="en-US" sz="1000" smtClean="0"/>
                        <a:t>002446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smtClean="0"/>
                        <a:t>X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smtClean="0"/>
                        <a:t>M/M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smtClean="0"/>
                        <a:t>7-UC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smtClean="0"/>
                        <a:t>X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smtClean="0"/>
                        <a:t>X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</a:tr>
              <a:tr h="216000">
                <a:tc>
                  <a:txBody>
                    <a:bodyPr/>
                    <a:lstStyle/>
                    <a:p>
                      <a:r>
                        <a:rPr lang="en-US" sz="1000" smtClean="0"/>
                        <a:t>002447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X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smtClean="0"/>
                        <a:t>VLVDTEE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smtClean="0"/>
                        <a:t>7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</a:tr>
              <a:tr h="216000">
                <a:tc>
                  <a:txBody>
                    <a:bodyPr/>
                    <a:lstStyle/>
                    <a:p>
                      <a:r>
                        <a:rPr lang="en-US" sz="1000" smtClean="0"/>
                        <a:t>002450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smtClean="0"/>
                        <a:t>X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smtClean="0"/>
                        <a:t>“Y”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smtClean="0"/>
                        <a:t>7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smtClean="0"/>
                        <a:t>X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smtClean="0"/>
                        <a:t>X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smtClean="0"/>
                        <a:t>X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</a:tr>
              <a:tr h="216000">
                <a:tc>
                  <a:txBody>
                    <a:bodyPr/>
                    <a:lstStyle/>
                    <a:p>
                      <a:r>
                        <a:rPr lang="en-US" sz="1000" smtClean="0"/>
                        <a:t>002443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smtClean="0"/>
                        <a:t>X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smtClean="0"/>
                        <a:t>X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</a:tr>
              <a:tr h="216000">
                <a:tc>
                  <a:txBody>
                    <a:bodyPr/>
                    <a:lstStyle/>
                    <a:p>
                      <a:r>
                        <a:rPr lang="en-US" sz="1000" smtClean="0"/>
                        <a:t>002444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smtClean="0"/>
                        <a:t>X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smtClean="0"/>
                        <a:t>7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smtClean="0"/>
                        <a:t>X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/>
                </a:tc>
              </a:tr>
              <a:tr h="216000">
                <a:tc>
                  <a:txBody>
                    <a:bodyPr/>
                    <a:lstStyle/>
                    <a:p>
                      <a:r>
                        <a:rPr lang="en-US" sz="1000" smtClean="0"/>
                        <a:t>002440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smtClean="0"/>
                        <a:t>X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smtClean="0"/>
                        <a:t>Elephant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</a:tr>
              <a:tr h="216000">
                <a:tc>
                  <a:txBody>
                    <a:bodyPr/>
                    <a:lstStyle/>
                    <a:p>
                      <a:r>
                        <a:rPr lang="en-US" sz="1000" smtClean="0"/>
                        <a:t>002455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smtClean="0"/>
                        <a:t>X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smtClean="0"/>
                        <a:t>7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smtClean="0"/>
                        <a:t>Elephant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</a:tr>
              <a:tr h="216000">
                <a:tc>
                  <a:txBody>
                    <a:bodyPr/>
                    <a:lstStyle/>
                    <a:p>
                      <a:r>
                        <a:rPr lang="en-US" sz="1000" smtClean="0"/>
                        <a:t>002432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smtClean="0"/>
                        <a:t>X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smtClean="0"/>
                        <a:t>X</a:t>
                      </a:r>
                      <a:endParaRPr lang="en-US" sz="1000"/>
                    </a:p>
                  </a:txBody>
                  <a:tcPr/>
                </a:tc>
              </a:tr>
              <a:tr h="216000">
                <a:tc>
                  <a:txBody>
                    <a:bodyPr/>
                    <a:lstStyle/>
                    <a:p>
                      <a:r>
                        <a:rPr lang="en-US" sz="1000" smtClean="0"/>
                        <a:t>002433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smtClean="0"/>
                        <a:t>X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smtClean="0"/>
                        <a:t>7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X</a:t>
                      </a:r>
                      <a:endParaRPr lang="en-US" sz="1000" dirty="0"/>
                    </a:p>
                  </a:txBody>
                  <a:tcPr/>
                </a:tc>
              </a:tr>
            </a:tbl>
          </a:graphicData>
        </a:graphic>
      </p:graphicFrame>
      <p:grpSp>
        <p:nvGrpSpPr>
          <p:cNvPr id="5" name="Group 4"/>
          <p:cNvGrpSpPr/>
          <p:nvPr/>
        </p:nvGrpSpPr>
        <p:grpSpPr>
          <a:xfrm>
            <a:off x="293033" y="2680020"/>
            <a:ext cx="1104405" cy="246223"/>
            <a:chOff x="4" y="2881452"/>
            <a:chExt cx="1104405" cy="246223"/>
          </a:xfrm>
        </p:grpSpPr>
        <p:sp>
          <p:nvSpPr>
            <p:cNvPr id="15" name="Right Arrow 14"/>
            <p:cNvSpPr/>
            <p:nvPr/>
          </p:nvSpPr>
          <p:spPr>
            <a:xfrm>
              <a:off x="71255" y="2881452"/>
              <a:ext cx="807976" cy="246221"/>
            </a:xfrm>
            <a:prstGeom prst="rightArrow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smtClean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4" y="2881454"/>
              <a:ext cx="110440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dirty="0" smtClean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7% units</a:t>
              </a:r>
              <a:endParaRPr lang="en-US" sz="1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266399" y="5579238"/>
            <a:ext cx="1104405" cy="264031"/>
            <a:chOff x="-3" y="6431320"/>
            <a:chExt cx="1104405" cy="264031"/>
          </a:xfrm>
        </p:grpSpPr>
        <p:sp>
          <p:nvSpPr>
            <p:cNvPr id="17" name="Right Arrow 16"/>
            <p:cNvSpPr/>
            <p:nvPr/>
          </p:nvSpPr>
          <p:spPr>
            <a:xfrm>
              <a:off x="95006" y="6431320"/>
              <a:ext cx="807976" cy="264029"/>
            </a:xfrm>
            <a:prstGeom prst="rightArrow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smtClean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-3" y="6449130"/>
              <a:ext cx="110440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dirty="0" smtClean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1% units</a:t>
              </a:r>
              <a:endParaRPr lang="en-US" sz="1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293033" y="3646143"/>
            <a:ext cx="1104405" cy="246223"/>
            <a:chOff x="4" y="2881452"/>
            <a:chExt cx="1104405" cy="246223"/>
          </a:xfrm>
        </p:grpSpPr>
        <p:sp>
          <p:nvSpPr>
            <p:cNvPr id="19" name="Right Arrow 18"/>
            <p:cNvSpPr/>
            <p:nvPr/>
          </p:nvSpPr>
          <p:spPr>
            <a:xfrm>
              <a:off x="71255" y="2881452"/>
              <a:ext cx="807976" cy="246221"/>
            </a:xfrm>
            <a:prstGeom prst="rightArrow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smtClean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4" y="2881454"/>
              <a:ext cx="110440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8</a:t>
              </a:r>
              <a:r>
                <a:rPr lang="en-US" sz="1000" b="1" dirty="0" smtClean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% units</a:t>
              </a:r>
              <a:endParaRPr lang="en-US" sz="1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6" name="Flowchart: Punched Tape 15"/>
          <p:cNvSpPr/>
          <p:nvPr/>
        </p:nvSpPr>
        <p:spPr>
          <a:xfrm>
            <a:off x="6521377" y="459843"/>
            <a:ext cx="2278235" cy="1175310"/>
          </a:xfrm>
          <a:prstGeom prst="flowChartPunchedTape">
            <a:avLst/>
          </a:prstGeom>
          <a:solidFill>
            <a:srgbClr val="10D2FF"/>
          </a:solidFill>
          <a:ln>
            <a:solidFill>
              <a:srgbClr val="10D2FF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dirty="0" smtClean="0">
                <a:solidFill>
                  <a:schemeClr val="bg1"/>
                </a:solidFill>
              </a:rPr>
              <a:t>Now with 15 languages!</a:t>
            </a:r>
          </a:p>
        </p:txBody>
      </p:sp>
    </p:spTree>
    <p:extLst>
      <p:ext uri="{BB962C8B-B14F-4D97-AF65-F5344CB8AC3E}">
        <p14:creationId xmlns:p14="http://schemas.microsoft.com/office/powerpoint/2010/main" val="17815298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722316" y="4072374"/>
            <a:ext cx="8029801" cy="15866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b="1" kern="1200">
                <a:solidFill>
                  <a:srgbClr val="242852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US" sz="2800" dirty="0" smtClean="0">
                <a:solidFill>
                  <a:schemeClr val="accent1">
                    <a:lumMod val="20000"/>
                    <a:lumOff val="80000"/>
                  </a:schemeClr>
                </a:solidFill>
              </a:rPr>
              <a:t>Misty Fast</a:t>
            </a:r>
            <a:endParaRPr lang="en-US" sz="2000" dirty="0">
              <a:solidFill>
                <a:schemeClr val="accent1">
                  <a:lumMod val="20000"/>
                  <a:lumOff val="8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5890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2509" y="135224"/>
            <a:ext cx="8726424" cy="1171065"/>
          </a:xfrm>
        </p:spPr>
        <p:txBody>
          <a:bodyPr anchor="t">
            <a:normAutofit/>
          </a:bodyPr>
          <a:lstStyle/>
          <a:p>
            <a:r>
              <a:rPr lang="en-US" sz="2800" dirty="0">
                <a:latin typeface="+mj-lt"/>
              </a:rPr>
              <a:t>Air</a:t>
            </a:r>
            <a:r>
              <a:rPr lang="en-US" sz="2800" i="1" dirty="0">
                <a:latin typeface="+mj-lt"/>
              </a:rPr>
              <a:t>Life</a:t>
            </a:r>
            <a:r>
              <a:rPr lang="en-US" sz="2800" dirty="0">
                <a:latin typeface="+mj-lt"/>
              </a:rPr>
              <a:t> Misty </a:t>
            </a:r>
            <a:r>
              <a:rPr lang="en-US" sz="2800" dirty="0" smtClean="0">
                <a:latin typeface="+mj-lt"/>
              </a:rPr>
              <a:t>Fast Small </a:t>
            </a:r>
            <a:r>
              <a:rPr lang="en-US" sz="2800" dirty="0">
                <a:latin typeface="+mj-lt"/>
              </a:rPr>
              <a:t>volume nebulizer</a:t>
            </a:r>
          </a:p>
        </p:txBody>
      </p:sp>
      <p:pic>
        <p:nvPicPr>
          <p:cNvPr id="74754" name="Picture 2" descr="C:\Users\scott.harrison\Pictures\Misty Fast Lifestyle medium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436" y="1427330"/>
            <a:ext cx="7382064" cy="42033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7008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2509" y="194599"/>
            <a:ext cx="8726424" cy="698775"/>
          </a:xfrm>
        </p:spPr>
        <p:txBody>
          <a:bodyPr>
            <a:normAutofit/>
          </a:bodyPr>
          <a:lstStyle/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Misty Fast Details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8" descr="FN2430_LowRes.jpg"/>
          <p:cNvPicPr>
            <a:picLocks noChangeAspect="1"/>
          </p:cNvPicPr>
          <p:nvPr/>
        </p:nvPicPr>
        <p:blipFill>
          <a:blip r:embed="rId3" cstate="print"/>
          <a:srcRect l="26305" t="10189" r="24150" b="16191"/>
          <a:stretch>
            <a:fillRect/>
          </a:stretch>
        </p:blipFill>
        <p:spPr>
          <a:xfrm>
            <a:off x="5589363" y="1074257"/>
            <a:ext cx="2532206" cy="4787203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546265" y="1615044"/>
            <a:ext cx="5264924" cy="27145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Launched in 2013</a:t>
            </a:r>
          </a:p>
          <a:p>
            <a:endParaRPr lang="en-US" sz="16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Key Focus Product for AirLife</a:t>
            </a:r>
          </a:p>
          <a:p>
            <a:pPr lvl="1"/>
            <a:endParaRPr lang="en-US" sz="1400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400" i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600" b="1" i="1" u="sng" dirty="0" smtClean="0">
                <a:latin typeface="Arial" panose="020B0604020202020204" pitchFamily="34" charset="0"/>
                <a:cs typeface="Arial" panose="020B0604020202020204" pitchFamily="34" charset="0"/>
              </a:rPr>
              <a:t>Performance Specifications</a:t>
            </a:r>
          </a:p>
          <a:p>
            <a:pPr marL="744538" lvl="1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MMAD =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2.4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µ</a:t>
            </a:r>
          </a:p>
          <a:p>
            <a:pPr marL="744538" lvl="1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% particles 1µ&gt;5µ: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72%</a:t>
            </a:r>
          </a:p>
          <a:p>
            <a:pPr marL="744538" lvl="1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Treatment time: Nebulizes a standard 3ml dose in under 4 minutes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400" i="1" u="sng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96738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What Differences &amp; Similarities do you notice?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63740" y="1398384"/>
            <a:ext cx="7915275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Font typeface="Arial" pitchFamily="34" charset="0"/>
              <a:buChar char="•"/>
            </a:pP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Air entrainment port on Misty Fast cap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buFont typeface="Arial" pitchFamily="34" charset="0"/>
              <a:buChar char="•"/>
            </a:pP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Swivel mouthpiece with built-in Tee adaptor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buFont typeface="Arial" pitchFamily="34" charset="0"/>
              <a:buChar char="•"/>
            </a:pP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Modified Jet Design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buFont typeface="Arial" pitchFamily="34" charset="0"/>
              <a:buChar char="•"/>
            </a:pPr>
            <a:r>
              <a:rPr lang="en-US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Flextube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is the same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buFont typeface="Arial" pitchFamily="34" charset="0"/>
              <a:buChar char="•"/>
            </a:pP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Reservoir holds the same volume of medication</a:t>
            </a:r>
          </a:p>
          <a:p>
            <a:pPr marL="228600" indent="-228600">
              <a:buFont typeface="Arial" pitchFamily="34" charset="0"/>
              <a:buChar char="•"/>
            </a:pP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Jet stems have different sized openings, although they may look the same </a:t>
            </a:r>
          </a:p>
          <a:p>
            <a:pPr marL="228600" indent="-228600">
              <a:buFont typeface="Arial" pitchFamily="34" charset="0"/>
              <a:buChar char="•"/>
            </a:pPr>
            <a:endParaRPr lang="en-US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 descr="neb graphic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00075" y="3560241"/>
            <a:ext cx="4114800" cy="2039351"/>
          </a:xfrm>
          <a:prstGeom prst="rect">
            <a:avLst/>
          </a:prstGeom>
        </p:spPr>
      </p:pic>
      <p:pic>
        <p:nvPicPr>
          <p:cNvPr id="6" name="Picture 5" descr="MM10 Drawing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5149976" y="3833988"/>
            <a:ext cx="3200400" cy="1255247"/>
          </a:xfrm>
          <a:prstGeom prst="rect">
            <a:avLst/>
          </a:prstGeom>
        </p:spPr>
      </p:pic>
      <p:cxnSp>
        <p:nvCxnSpPr>
          <p:cNvPr id="7" name="Straight Connector 6"/>
          <p:cNvCxnSpPr/>
          <p:nvPr/>
        </p:nvCxnSpPr>
        <p:spPr>
          <a:xfrm>
            <a:off x="4897755" y="3530913"/>
            <a:ext cx="0" cy="1939496"/>
          </a:xfrm>
          <a:prstGeom prst="line">
            <a:avLst/>
          </a:prstGeom>
          <a:ln w="381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5149976" y="5239577"/>
            <a:ext cx="338328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solidFill>
                  <a:srgbClr val="DD051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-Nebulizer Cap, B-Jet, C-Neb bottle, D-Jet stem</a:t>
            </a:r>
            <a:endParaRPr lang="en-US" sz="900" dirty="0">
              <a:solidFill>
                <a:srgbClr val="DD051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341553" y="3396051"/>
            <a:ext cx="1000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MM10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255328" y="3338901"/>
            <a:ext cx="12362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Misty Fast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98948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8" grpId="0"/>
      <p:bldP spid="9" grpId="0"/>
      <p:bldP spid="10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jet line drawing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 flipH="1">
            <a:off x="1774689" y="1431518"/>
            <a:ext cx="3736685" cy="2286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812" y="246254"/>
            <a:ext cx="8970571" cy="698775"/>
          </a:xfrm>
        </p:spPr>
        <p:txBody>
          <a:bodyPr anchor="t">
            <a:normAutofit/>
          </a:bodyPr>
          <a:lstStyle/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Misty Fast Jet Detail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60812" y="3981453"/>
            <a:ext cx="6163817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Font typeface="Arial" pitchFamily="34" charset="0"/>
              <a:buChar char="•"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Jet has been modified for Misty Fast – improves output</a:t>
            </a:r>
          </a:p>
          <a:p>
            <a:pPr marL="228600" indent="-228600">
              <a:spcBef>
                <a:spcPts val="600"/>
              </a:spcBef>
              <a:buFont typeface="Arial" pitchFamily="34" charset="0"/>
              <a:buChar char="•"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Recommended </a:t>
            </a:r>
            <a:r>
              <a:rPr lang="en-US" u="sng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 </a:t>
            </a:r>
            <a:r>
              <a:rPr lang="en-US" u="sng" dirty="0" err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pm</a:t>
            </a:r>
            <a:r>
              <a:rPr lang="en-US" u="sng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low rate</a:t>
            </a:r>
            <a:r>
              <a:rPr lang="en-US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for optimal performance</a:t>
            </a:r>
          </a:p>
          <a:p>
            <a:pPr marL="228600" indent="-228600">
              <a:spcBef>
                <a:spcPts val="600"/>
              </a:spcBef>
              <a:buFont typeface="Arial" pitchFamily="34" charset="0"/>
              <a:buChar char="•"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Misty Fast jet is orange; Misty Max 10 jet is blue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218421" y="1079094"/>
            <a:ext cx="100012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MM10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936090" y="1040994"/>
            <a:ext cx="112082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Misty Fast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9" name="Straight Connector 18"/>
          <p:cNvCxnSpPr/>
          <p:nvPr/>
        </p:nvCxnSpPr>
        <p:spPr>
          <a:xfrm>
            <a:off x="3345180" y="2490700"/>
            <a:ext cx="0" cy="83820"/>
          </a:xfrm>
          <a:prstGeom prst="line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3448050" y="2490700"/>
            <a:ext cx="0" cy="83820"/>
          </a:xfrm>
          <a:prstGeom prst="line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jets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6255790" y="1776862"/>
            <a:ext cx="2413373" cy="1828800"/>
          </a:xfrm>
          <a:prstGeom prst="rect">
            <a:avLst/>
          </a:prstGeom>
        </p:spPr>
      </p:pic>
      <p:sp>
        <p:nvSpPr>
          <p:cNvPr id="5" name="Oval 4"/>
          <p:cNvSpPr/>
          <p:nvPr/>
        </p:nvSpPr>
        <p:spPr>
          <a:xfrm>
            <a:off x="2190990" y="2098814"/>
            <a:ext cx="832610" cy="783771"/>
          </a:xfrm>
          <a:prstGeom prst="ellipse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l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Oval 19"/>
          <p:cNvSpPr/>
          <p:nvPr/>
        </p:nvSpPr>
        <p:spPr>
          <a:xfrm>
            <a:off x="4302174" y="1989955"/>
            <a:ext cx="832610" cy="783771"/>
          </a:xfrm>
          <a:prstGeom prst="ellipse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l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10137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What the differences mean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558144" y="2090057"/>
            <a:ext cx="2968831" cy="1009403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Swivel Mouthpiece</a:t>
            </a:r>
            <a:endParaRPr lang="en-US" sz="1400" dirty="0" smtClean="0">
              <a:solidFill>
                <a:schemeClr val="l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558144" y="3821869"/>
            <a:ext cx="2968831" cy="1009403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Air Entrainment Port</a:t>
            </a:r>
          </a:p>
          <a:p>
            <a:pPr algn="ctr"/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Modified Jet Design</a:t>
            </a:r>
          </a:p>
          <a:p>
            <a:pPr algn="ctr"/>
            <a:endParaRPr lang="en-US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US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ight Arrow 5"/>
          <p:cNvSpPr/>
          <p:nvPr/>
        </p:nvSpPr>
        <p:spPr>
          <a:xfrm>
            <a:off x="3847609" y="2458194"/>
            <a:ext cx="1080655" cy="356260"/>
          </a:xfrm>
          <a:prstGeom prst="rightArrow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l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ight Arrow 6"/>
          <p:cNvSpPr/>
          <p:nvPr/>
        </p:nvSpPr>
        <p:spPr>
          <a:xfrm>
            <a:off x="3857509" y="4166219"/>
            <a:ext cx="1080655" cy="356260"/>
          </a:xfrm>
          <a:prstGeom prst="rightArrow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l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407425" y="1923805"/>
            <a:ext cx="3188525" cy="142503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ility to use the Misty Fast while lying in the beach chair position</a:t>
            </a:r>
          </a:p>
        </p:txBody>
      </p:sp>
      <p:sp>
        <p:nvSpPr>
          <p:cNvPr id="9" name="Rectangle 8"/>
          <p:cNvSpPr/>
          <p:nvPr/>
        </p:nvSpPr>
        <p:spPr>
          <a:xfrm>
            <a:off x="5405454" y="3596205"/>
            <a:ext cx="3188525" cy="142503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uction in treatment time</a:t>
            </a:r>
          </a:p>
        </p:txBody>
      </p:sp>
    </p:spTree>
    <p:extLst>
      <p:ext uri="{BB962C8B-B14F-4D97-AF65-F5344CB8AC3E}">
        <p14:creationId xmlns:p14="http://schemas.microsoft.com/office/powerpoint/2010/main" val="11404522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7" grpId="0" animBg="1"/>
      <p:bldP spid="8" grpId="0" animBg="1"/>
      <p:bldP spid="9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2509" y="194599"/>
            <a:ext cx="8726424" cy="698775"/>
          </a:xfrm>
        </p:spPr>
        <p:txBody>
          <a:bodyPr anchor="t">
            <a:normAutofit/>
          </a:bodyPr>
          <a:lstStyle/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What the differences mean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8" descr="FN2430_LowRes.jpg"/>
          <p:cNvPicPr>
            <a:picLocks noChangeAspect="1"/>
          </p:cNvPicPr>
          <p:nvPr/>
        </p:nvPicPr>
        <p:blipFill>
          <a:blip r:embed="rId3" cstate="print"/>
          <a:srcRect l="26305" t="10189" r="24150" b="16191"/>
          <a:stretch>
            <a:fillRect/>
          </a:stretch>
        </p:blipFill>
        <p:spPr>
          <a:xfrm>
            <a:off x="5987147" y="917123"/>
            <a:ext cx="2335484" cy="4415295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523432" y="1280633"/>
            <a:ext cx="488075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u="sng" dirty="0" smtClean="0">
                <a:latin typeface="Arial" panose="020B0604020202020204" pitchFamily="34" charset="0"/>
                <a:cs typeface="Arial" panose="020B0604020202020204" pitchFamily="34" charset="0"/>
              </a:rPr>
              <a:t>Not intended for us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In line with a circui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Outside of the hospit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In conjunction with high flow treatment </a:t>
            </a:r>
          </a:p>
        </p:txBody>
      </p:sp>
      <p:sp>
        <p:nvSpPr>
          <p:cNvPr id="4" name="&quot;No&quot; Symbol 3"/>
          <p:cNvSpPr/>
          <p:nvPr/>
        </p:nvSpPr>
        <p:spPr>
          <a:xfrm>
            <a:off x="5272650" y="1413165"/>
            <a:ext cx="3764478" cy="3693227"/>
          </a:xfrm>
          <a:prstGeom prst="noSmoking">
            <a:avLst>
              <a:gd name="adj" fmla="val 4473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smtClean="0">
              <a:solidFill>
                <a:schemeClr val="l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475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7883" y="2997148"/>
            <a:ext cx="1610658" cy="24621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587582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6325" y="304800"/>
            <a:ext cx="8077200" cy="1143000"/>
          </a:xfrm>
        </p:spPr>
        <p:txBody>
          <a:bodyPr anchor="t"/>
          <a:lstStyle/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   Watch the Misty Fast in Action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146304" y="1447801"/>
            <a:ext cx="8863584" cy="533400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1900" u="sng" dirty="0" smtClean="0">
                <a:latin typeface="Arial" panose="020B0604020202020204" pitchFamily="34" charset="0"/>
                <a:cs typeface="Arial" panose="020B0604020202020204" pitchFamily="34" charset="0"/>
                <a:hlinkClick r:id="rId6"/>
              </a:rPr>
              <a:t>www.carefusion.com/mistyfast</a:t>
            </a:r>
            <a:endParaRPr lang="en-US" sz="1900" u="sng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US" sz="1900" u="sng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US" sz="1900" u="sng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US" sz="1900" u="sng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US" sz="1900" u="sng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US" sz="1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781" y="1871472"/>
            <a:ext cx="7110046" cy="38782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42030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1929" y="239983"/>
            <a:ext cx="8813321" cy="698775"/>
          </a:xfrm>
        </p:spPr>
        <p:txBody>
          <a:bodyPr anchor="t">
            <a:normAutofit/>
          </a:bodyPr>
          <a:lstStyle/>
          <a:p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Air</a:t>
            </a:r>
            <a:r>
              <a:rPr lang="en-US" i="1" dirty="0" err="1">
                <a:latin typeface="Arial" panose="020B0604020202020204" pitchFamily="34" charset="0"/>
                <a:cs typeface="Arial" panose="020B0604020202020204" pitchFamily="34" charset="0"/>
              </a:rPr>
              <a:t>Life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Misty Fast small volume nebulizer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9387994"/>
              </p:ext>
            </p:extLst>
          </p:nvPr>
        </p:nvGraphicFramePr>
        <p:xfrm>
          <a:off x="881743" y="965540"/>
          <a:ext cx="6636659" cy="48600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6492"/>
                <a:gridCol w="770749"/>
                <a:gridCol w="606492"/>
                <a:gridCol w="783384"/>
                <a:gridCol w="694937"/>
                <a:gridCol w="606492"/>
                <a:gridCol w="606492"/>
                <a:gridCol w="606492"/>
                <a:gridCol w="748637"/>
                <a:gridCol w="606492"/>
              </a:tblGrid>
              <a:tr h="281077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900" u="none" strike="noStrike" dirty="0">
                          <a:effectLst/>
                        </a:rPr>
                        <a:t>M Max PN</a:t>
                      </a:r>
                      <a:endParaRPr lang="en-GB" sz="900" b="1" i="0" u="none" strike="noStrike" dirty="0">
                        <a:solidFill>
                          <a:srgbClr val="FFFFFF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900" u="none" strike="noStrike">
                          <a:effectLst/>
                        </a:rPr>
                        <a:t>M Fast PN</a:t>
                      </a:r>
                      <a:endParaRPr lang="en-GB" sz="900" b="1" i="0" u="none" strike="noStrike">
                        <a:solidFill>
                          <a:srgbClr val="FFFFFF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900" u="none" strike="noStrike">
                          <a:effectLst/>
                        </a:rPr>
                        <a:t>Neb</a:t>
                      </a:r>
                      <a:endParaRPr lang="en-GB" sz="900" b="1" i="0" u="none" strike="noStrike">
                        <a:solidFill>
                          <a:srgbClr val="FFFFFF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900" u="none" strike="noStrike">
                          <a:effectLst/>
                        </a:rPr>
                        <a:t>Tee adapter</a:t>
                      </a:r>
                      <a:endParaRPr lang="en-GB" sz="900" b="1" i="0" u="none" strike="noStrike">
                        <a:solidFill>
                          <a:srgbClr val="FFFFFF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900" u="none" strike="noStrike">
                          <a:effectLst/>
                        </a:rPr>
                        <a:t>O2  tubing</a:t>
                      </a:r>
                      <a:endParaRPr lang="en-GB" sz="900" b="1" i="0" u="none" strike="noStrike">
                        <a:solidFill>
                          <a:srgbClr val="FFFFFF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900" u="none" strike="noStrike">
                          <a:effectLst/>
                        </a:rPr>
                        <a:t>Mouth piece</a:t>
                      </a:r>
                      <a:endParaRPr lang="en-GB" sz="900" b="1" i="0" u="none" strike="noStrike">
                        <a:solidFill>
                          <a:srgbClr val="FFFFFF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900" u="none" strike="noStrike">
                          <a:effectLst/>
                        </a:rPr>
                        <a:t>Flex tube</a:t>
                      </a:r>
                      <a:endParaRPr lang="en-GB" sz="900" b="1" i="0" u="none" strike="noStrike">
                        <a:solidFill>
                          <a:srgbClr val="FFFFFF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900" u="none" strike="noStrike">
                          <a:effectLst/>
                        </a:rPr>
                        <a:t>Filter</a:t>
                      </a:r>
                      <a:endParaRPr lang="en-GB" sz="900" b="1" i="0" u="none" strike="noStrike">
                        <a:solidFill>
                          <a:srgbClr val="FFFFFF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900" u="none" strike="noStrike">
                          <a:effectLst/>
                        </a:rPr>
                        <a:t>Ped Mask</a:t>
                      </a:r>
                      <a:endParaRPr lang="en-GB" sz="900" b="1" i="0" u="none" strike="noStrike">
                        <a:solidFill>
                          <a:srgbClr val="FFFFFF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900" u="none" strike="noStrike">
                          <a:effectLst/>
                        </a:rPr>
                        <a:t>Adult Mask</a:t>
                      </a:r>
                      <a:endParaRPr lang="en-GB" sz="900" b="1" i="0" u="none" strike="noStrike">
                        <a:solidFill>
                          <a:srgbClr val="FFFFFF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</a:tr>
              <a:tr h="243129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900" u="none" strike="noStrike" dirty="0">
                          <a:solidFill>
                            <a:schemeClr val="tx1"/>
                          </a:solidFill>
                          <a:effectLst/>
                        </a:rPr>
                        <a:t>2430</a:t>
                      </a:r>
                      <a:endParaRPr lang="en-GB" sz="900" b="0" i="0" u="none" strike="noStrike" dirty="0">
                        <a:solidFill>
                          <a:schemeClr val="tx1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900" u="none" strike="noStrike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u="none" strike="noStrike">
                          <a:effectLst/>
                        </a:rPr>
                        <a:t>X</a:t>
                      </a:r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</a:tr>
              <a:tr h="281077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900" u="none" strike="noStrike">
                          <a:solidFill>
                            <a:schemeClr val="tx1"/>
                          </a:solidFill>
                          <a:effectLst/>
                        </a:rPr>
                        <a:t>2431</a:t>
                      </a:r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900" u="none" strike="noStrike" dirty="0">
                          <a:solidFill>
                            <a:schemeClr val="tx1"/>
                          </a:solidFill>
                          <a:effectLst/>
                        </a:rPr>
                        <a:t>FN2431</a:t>
                      </a:r>
                      <a:endParaRPr lang="en-GB" sz="900" b="0" i="0" u="none" strike="noStrike" dirty="0">
                        <a:solidFill>
                          <a:schemeClr val="tx1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u="none" strike="noStrike">
                          <a:effectLst/>
                        </a:rPr>
                        <a:t>X</a:t>
                      </a:r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u="none" strike="noStrike">
                          <a:effectLst/>
                        </a:rPr>
                        <a:t>M/M</a:t>
                      </a:r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</a:tr>
              <a:tr h="243129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900" u="none" strike="noStrike">
                          <a:solidFill>
                            <a:schemeClr val="tx1"/>
                          </a:solidFill>
                          <a:effectLst/>
                        </a:rPr>
                        <a:t>2434</a:t>
                      </a:r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900" u="none" strike="noStrike" dirty="0">
                          <a:solidFill>
                            <a:schemeClr val="tx1"/>
                          </a:solidFill>
                          <a:effectLst/>
                        </a:rPr>
                        <a:t>FN2434</a:t>
                      </a:r>
                      <a:endParaRPr lang="en-GB" sz="900" b="0" i="0" u="none" strike="noStrike" dirty="0">
                        <a:solidFill>
                          <a:schemeClr val="tx1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u="none" strike="noStrike">
                          <a:effectLst/>
                        </a:rPr>
                        <a:t>X</a:t>
                      </a:r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u="none" strike="noStrike">
                          <a:effectLst/>
                        </a:rPr>
                        <a:t>M/M</a:t>
                      </a:r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u="none" strike="noStrike">
                          <a:effectLst/>
                        </a:rPr>
                        <a:t>7</a:t>
                      </a:r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u="none" strike="noStrike">
                          <a:effectLst/>
                        </a:rPr>
                        <a:t>X</a:t>
                      </a:r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</a:tr>
              <a:tr h="243129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900" u="none" strike="noStrike">
                          <a:solidFill>
                            <a:schemeClr val="tx1"/>
                          </a:solidFill>
                          <a:effectLst/>
                        </a:rPr>
                        <a:t>2435</a:t>
                      </a:r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900" u="none" strike="noStrike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u="none" strike="noStrike">
                          <a:effectLst/>
                        </a:rPr>
                        <a:t>X</a:t>
                      </a:r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u="none" strike="noStrike">
                          <a:effectLst/>
                        </a:rPr>
                        <a:t>M/F</a:t>
                      </a:r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u="none" strike="noStrike">
                          <a:effectLst/>
                        </a:rPr>
                        <a:t>7</a:t>
                      </a:r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u="none" strike="noStrike">
                          <a:effectLst/>
                        </a:rPr>
                        <a:t>X</a:t>
                      </a:r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u="none" strike="noStrike">
                          <a:effectLst/>
                        </a:rPr>
                        <a:t>X</a:t>
                      </a:r>
                      <a:endParaRPr lang="en-GB" sz="900" b="1" i="0" u="none" strike="noStrike">
                        <a:solidFill>
                          <a:srgbClr val="F58025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</a:tr>
              <a:tr h="243129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900" u="none" strike="noStrike">
                          <a:solidFill>
                            <a:schemeClr val="tx1"/>
                          </a:solidFill>
                          <a:effectLst/>
                        </a:rPr>
                        <a:t>2437</a:t>
                      </a:r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900" u="none" strike="noStrike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u="none" strike="noStrike">
                          <a:effectLst/>
                        </a:rPr>
                        <a:t>X</a:t>
                      </a:r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u="none" strike="noStrike">
                          <a:effectLst/>
                        </a:rPr>
                        <a:t>M/M</a:t>
                      </a:r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u="none" strike="noStrike">
                          <a:effectLst/>
                        </a:rPr>
                        <a:t>X</a:t>
                      </a:r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</a:tr>
              <a:tr h="243129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900" u="none" strike="noStrike">
                          <a:solidFill>
                            <a:schemeClr val="tx1"/>
                          </a:solidFill>
                          <a:effectLst/>
                        </a:rPr>
                        <a:t>2438</a:t>
                      </a:r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900" u="none" strike="noStrike" dirty="0">
                          <a:solidFill>
                            <a:schemeClr val="tx1"/>
                          </a:solidFill>
                          <a:effectLst/>
                        </a:rPr>
                        <a:t>FN2438</a:t>
                      </a:r>
                      <a:endParaRPr lang="en-GB" sz="900" b="0" i="0" u="none" strike="noStrike" dirty="0">
                        <a:solidFill>
                          <a:schemeClr val="tx1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u="none" strike="noStrike">
                          <a:effectLst/>
                        </a:rPr>
                        <a:t>X</a:t>
                      </a:r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u="none" strike="noStrike">
                          <a:effectLst/>
                        </a:rPr>
                        <a:t>M/M</a:t>
                      </a:r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u="none" strike="noStrike">
                          <a:effectLst/>
                        </a:rPr>
                        <a:t>7</a:t>
                      </a:r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u="none" strike="noStrike">
                          <a:effectLst/>
                        </a:rPr>
                        <a:t>X</a:t>
                      </a:r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u="none" strike="noStrike">
                          <a:effectLst/>
                        </a:rPr>
                        <a:t>X</a:t>
                      </a:r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</a:tr>
              <a:tr h="243129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900" u="none" strike="noStrike">
                          <a:solidFill>
                            <a:schemeClr val="tx1"/>
                          </a:solidFill>
                          <a:effectLst/>
                        </a:rPr>
                        <a:t>2439</a:t>
                      </a:r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900" u="none" strike="noStrike" dirty="0">
                          <a:solidFill>
                            <a:schemeClr val="tx1"/>
                          </a:solidFill>
                          <a:effectLst/>
                        </a:rPr>
                        <a:t>FN2439</a:t>
                      </a:r>
                      <a:endParaRPr lang="en-GB" sz="900" b="0" i="0" u="none" strike="noStrike" dirty="0">
                        <a:solidFill>
                          <a:schemeClr val="tx1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u="none" strike="noStrike">
                          <a:effectLst/>
                        </a:rPr>
                        <a:t>X</a:t>
                      </a:r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u="none" strike="noStrike">
                          <a:effectLst/>
                        </a:rPr>
                        <a:t>M/M</a:t>
                      </a:r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u="none" strike="noStrike">
                          <a:effectLst/>
                        </a:rPr>
                        <a:t>14</a:t>
                      </a:r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u="none" strike="noStrike">
                          <a:effectLst/>
                        </a:rPr>
                        <a:t>X</a:t>
                      </a:r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u="none" strike="noStrike">
                          <a:effectLst/>
                        </a:rPr>
                        <a:t>X</a:t>
                      </a:r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</a:tr>
              <a:tr h="243129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900" u="none" strike="noStrike">
                          <a:solidFill>
                            <a:schemeClr val="tx1"/>
                          </a:solidFill>
                          <a:effectLst/>
                        </a:rPr>
                        <a:t>2442</a:t>
                      </a:r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900" u="none" strike="noStrike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u="none" strike="noStrike">
                          <a:effectLst/>
                        </a:rPr>
                        <a:t>X</a:t>
                      </a:r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u="none" strike="noStrike">
                          <a:effectLst/>
                        </a:rPr>
                        <a:t>M/M</a:t>
                      </a:r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</a:tr>
              <a:tr h="243129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900" u="none" strike="noStrike">
                          <a:solidFill>
                            <a:schemeClr val="tx1"/>
                          </a:solidFill>
                          <a:effectLst/>
                        </a:rPr>
                        <a:t>2445</a:t>
                      </a:r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900" u="none" strike="noStrike" dirty="0">
                          <a:solidFill>
                            <a:schemeClr val="tx1"/>
                          </a:solidFill>
                          <a:effectLst/>
                        </a:rPr>
                        <a:t>FN2445</a:t>
                      </a:r>
                      <a:endParaRPr lang="en-GB" sz="900" b="0" i="0" u="none" strike="noStrike" dirty="0">
                        <a:solidFill>
                          <a:schemeClr val="tx1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u="none" strike="noStrike">
                          <a:effectLst/>
                        </a:rPr>
                        <a:t>X</a:t>
                      </a:r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u="none" strike="noStrike">
                          <a:effectLst/>
                        </a:rPr>
                        <a:t>M/M</a:t>
                      </a:r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u="none" strike="noStrike">
                          <a:effectLst/>
                        </a:rPr>
                        <a:t>7-UC</a:t>
                      </a:r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u="none" strike="noStrike">
                          <a:effectLst/>
                        </a:rPr>
                        <a:t>X</a:t>
                      </a:r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</a:tr>
              <a:tr h="243129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900" u="none" strike="noStrike">
                          <a:solidFill>
                            <a:schemeClr val="tx1"/>
                          </a:solidFill>
                          <a:effectLst/>
                        </a:rPr>
                        <a:t>2446</a:t>
                      </a:r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900" u="none" strike="noStrike" dirty="0">
                          <a:solidFill>
                            <a:schemeClr val="tx1"/>
                          </a:solidFill>
                          <a:effectLst/>
                        </a:rPr>
                        <a:t>FN2446</a:t>
                      </a:r>
                      <a:endParaRPr lang="en-GB" sz="900" b="0" i="0" u="none" strike="noStrike" dirty="0">
                        <a:solidFill>
                          <a:schemeClr val="tx1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u="none" strike="noStrike">
                          <a:effectLst/>
                        </a:rPr>
                        <a:t>X</a:t>
                      </a:r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u="none" strike="noStrike">
                          <a:effectLst/>
                        </a:rPr>
                        <a:t>M/M</a:t>
                      </a:r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u="none" strike="noStrike">
                          <a:effectLst/>
                        </a:rPr>
                        <a:t>7-UC</a:t>
                      </a:r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u="none" strike="noStrike">
                          <a:effectLst/>
                        </a:rPr>
                        <a:t>X</a:t>
                      </a:r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u="none" strike="noStrike">
                          <a:effectLst/>
                        </a:rPr>
                        <a:t>X</a:t>
                      </a:r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</a:tr>
              <a:tr h="281077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900" u="none" strike="noStrike">
                          <a:solidFill>
                            <a:schemeClr val="tx1"/>
                          </a:solidFill>
                          <a:effectLst/>
                        </a:rPr>
                        <a:t>2447</a:t>
                      </a:r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900" u="none" strike="noStrike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u="none" strike="noStrike">
                          <a:effectLst/>
                        </a:rPr>
                        <a:t>X</a:t>
                      </a:r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u="none" strike="noStrike">
                          <a:effectLst/>
                        </a:rPr>
                        <a:t>VLVDTEE</a:t>
                      </a:r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u="none" strike="noStrike">
                          <a:effectLst/>
                        </a:rPr>
                        <a:t>7</a:t>
                      </a:r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</a:tr>
              <a:tr h="243129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900" u="none" strike="noStrike">
                          <a:solidFill>
                            <a:schemeClr val="tx1"/>
                          </a:solidFill>
                          <a:effectLst/>
                        </a:rPr>
                        <a:t>2450</a:t>
                      </a:r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900" u="none" strike="noStrike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u="none" strike="noStrike">
                          <a:effectLst/>
                        </a:rPr>
                        <a:t>X</a:t>
                      </a:r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u="none" strike="noStrike">
                          <a:effectLst/>
                        </a:rPr>
                        <a:t>“Y”</a:t>
                      </a:r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u="none" strike="noStrike">
                          <a:effectLst/>
                        </a:rPr>
                        <a:t>7</a:t>
                      </a:r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u="none" strike="noStrike">
                          <a:effectLst/>
                        </a:rPr>
                        <a:t>X</a:t>
                      </a:r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u="none" strike="noStrike">
                          <a:effectLst/>
                        </a:rPr>
                        <a:t>X</a:t>
                      </a:r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u="none" strike="noStrike">
                          <a:effectLst/>
                        </a:rPr>
                        <a:t>X</a:t>
                      </a:r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</a:tr>
              <a:tr h="243129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900" u="none" strike="noStrike">
                          <a:solidFill>
                            <a:schemeClr val="tx1"/>
                          </a:solidFill>
                          <a:effectLst/>
                        </a:rPr>
                        <a:t>2443</a:t>
                      </a:r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endParaRPr lang="en-GB" sz="900" b="0" i="0" u="none" strike="noStrike" dirty="0">
                        <a:solidFill>
                          <a:schemeClr val="tx1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u="none" strike="noStrike">
                          <a:effectLst/>
                        </a:rPr>
                        <a:t>X</a:t>
                      </a:r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u="none" strike="noStrike">
                          <a:effectLst/>
                        </a:rPr>
                        <a:t>X</a:t>
                      </a:r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</a:tr>
              <a:tr h="243129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900" u="none" strike="noStrike">
                          <a:solidFill>
                            <a:schemeClr val="tx1"/>
                          </a:solidFill>
                          <a:effectLst/>
                        </a:rPr>
                        <a:t>2444</a:t>
                      </a:r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FN2444</a:t>
                      </a:r>
                      <a:endParaRPr lang="en-GB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u="none" strike="noStrike">
                          <a:effectLst/>
                        </a:rPr>
                        <a:t>X</a:t>
                      </a:r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u="none" strike="noStrike">
                          <a:effectLst/>
                        </a:rPr>
                        <a:t>7</a:t>
                      </a:r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u="none" strike="noStrike">
                          <a:effectLst/>
                        </a:rPr>
                        <a:t>X</a:t>
                      </a:r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</a:tr>
              <a:tr h="243129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900" u="none" strike="noStrike">
                          <a:solidFill>
                            <a:schemeClr val="tx1"/>
                          </a:solidFill>
                          <a:effectLst/>
                        </a:rPr>
                        <a:t>2440</a:t>
                      </a:r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endParaRPr lang="en-GB" sz="900" b="0" i="0" u="none" strike="noStrike" dirty="0">
                        <a:solidFill>
                          <a:schemeClr val="tx1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u="none" strike="noStrike">
                          <a:effectLst/>
                        </a:rPr>
                        <a:t>X</a:t>
                      </a:r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u="none" strike="noStrike">
                          <a:effectLst/>
                        </a:rPr>
                        <a:t>Elephant</a:t>
                      </a:r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</a:tr>
              <a:tr h="243129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900" u="none" strike="noStrike">
                          <a:solidFill>
                            <a:schemeClr val="tx1"/>
                          </a:solidFill>
                          <a:effectLst/>
                        </a:rPr>
                        <a:t>2455</a:t>
                      </a:r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FN2455</a:t>
                      </a:r>
                      <a:endParaRPr lang="en-GB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u="none" strike="noStrike">
                          <a:effectLst/>
                        </a:rPr>
                        <a:t>X</a:t>
                      </a:r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u="none" strike="noStrike">
                          <a:effectLst/>
                        </a:rPr>
                        <a:t>7</a:t>
                      </a:r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u="none" strike="noStrike">
                          <a:effectLst/>
                        </a:rPr>
                        <a:t>Elephant</a:t>
                      </a:r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</a:tr>
              <a:tr h="243129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900" u="none" strike="noStrike">
                          <a:solidFill>
                            <a:schemeClr val="tx1"/>
                          </a:solidFill>
                          <a:effectLst/>
                        </a:rPr>
                        <a:t>2432</a:t>
                      </a:r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900" u="none" strike="noStrike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u="none" strike="noStrike">
                          <a:effectLst/>
                        </a:rPr>
                        <a:t>X</a:t>
                      </a:r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u="none" strike="noStrike">
                          <a:effectLst/>
                        </a:rPr>
                        <a:t>X</a:t>
                      </a:r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</a:tr>
              <a:tr h="243129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900" u="none" strike="noStrike">
                          <a:solidFill>
                            <a:schemeClr val="tx1"/>
                          </a:solidFill>
                          <a:effectLst/>
                        </a:rPr>
                        <a:t>2433</a:t>
                      </a:r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FN2433</a:t>
                      </a:r>
                      <a:endParaRPr lang="en-GB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u="none" strike="noStrike">
                          <a:effectLst/>
                        </a:rPr>
                        <a:t>X</a:t>
                      </a:r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u="none" strike="noStrike">
                          <a:effectLst/>
                        </a:rPr>
                        <a:t>7</a:t>
                      </a:r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 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84" marR="7184" marT="7184" marB="0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u="none" strike="noStrike" dirty="0">
                          <a:effectLst/>
                        </a:rPr>
                        <a:t>X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Verdana"/>
                      </a:endParaRPr>
                    </a:p>
                  </a:txBody>
                  <a:tcPr marL="7184" marR="7184" marT="7184" marB="0" anchor="ctr"/>
                </a:tc>
              </a:tr>
            </a:tbl>
          </a:graphicData>
        </a:graphic>
      </p:graphicFrame>
      <p:sp>
        <p:nvSpPr>
          <p:cNvPr id="6" name="Flowchart: Punched Tape 5"/>
          <p:cNvSpPr/>
          <p:nvPr/>
        </p:nvSpPr>
        <p:spPr>
          <a:xfrm>
            <a:off x="6521377" y="459843"/>
            <a:ext cx="2278235" cy="1175310"/>
          </a:xfrm>
          <a:prstGeom prst="flowChartPunchedTape">
            <a:avLst/>
          </a:prstGeom>
          <a:solidFill>
            <a:srgbClr val="10D2FF"/>
          </a:solidFill>
          <a:ln>
            <a:solidFill>
              <a:srgbClr val="10D2FF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dirty="0" smtClean="0">
                <a:solidFill>
                  <a:schemeClr val="bg1"/>
                </a:solidFill>
              </a:rPr>
              <a:t>Now with 15 languages!</a:t>
            </a:r>
          </a:p>
        </p:txBody>
      </p:sp>
    </p:spTree>
    <p:extLst>
      <p:ext uri="{BB962C8B-B14F-4D97-AF65-F5344CB8AC3E}">
        <p14:creationId xmlns:p14="http://schemas.microsoft.com/office/powerpoint/2010/main" val="20268018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722316" y="3891504"/>
            <a:ext cx="8029801" cy="15866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b="1" kern="1200">
                <a:solidFill>
                  <a:srgbClr val="242852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US" sz="2800" dirty="0" smtClean="0">
                <a:solidFill>
                  <a:schemeClr val="accent1">
                    <a:lumMod val="20000"/>
                    <a:lumOff val="80000"/>
                  </a:schemeClr>
                </a:solidFill>
              </a:rPr>
              <a:t>Medication Nebulizer Overview</a:t>
            </a:r>
            <a:br>
              <a:rPr lang="en-US" sz="2800" dirty="0" smtClean="0">
                <a:solidFill>
                  <a:schemeClr val="accent1">
                    <a:lumMod val="20000"/>
                    <a:lumOff val="80000"/>
                  </a:schemeClr>
                </a:solidFill>
              </a:rPr>
            </a:br>
            <a:r>
              <a:rPr lang="en-US" sz="2800" dirty="0" smtClean="0">
                <a:solidFill>
                  <a:schemeClr val="accent1">
                    <a:lumMod val="20000"/>
                    <a:lumOff val="80000"/>
                  </a:schemeClr>
                </a:solidFill>
              </a:rPr>
              <a:t>	</a:t>
            </a:r>
            <a:r>
              <a:rPr lang="en-US" sz="2000" dirty="0" smtClean="0">
                <a:solidFill>
                  <a:schemeClr val="accent1">
                    <a:lumMod val="20000"/>
                    <a:lumOff val="80000"/>
                  </a:schemeClr>
                </a:solidFill>
              </a:rPr>
              <a:t/>
            </a:r>
            <a:br>
              <a:rPr lang="en-US" sz="2000" dirty="0" smtClean="0">
                <a:solidFill>
                  <a:schemeClr val="accent1">
                    <a:lumMod val="20000"/>
                    <a:lumOff val="80000"/>
                  </a:schemeClr>
                </a:solidFill>
              </a:rPr>
            </a:br>
            <a:r>
              <a:rPr lang="en-US" sz="2000" dirty="0" smtClean="0">
                <a:solidFill>
                  <a:schemeClr val="accent1">
                    <a:lumMod val="20000"/>
                    <a:lumOff val="80000"/>
                  </a:schemeClr>
                </a:solidFill>
              </a:rPr>
              <a:t>	</a:t>
            </a:r>
            <a:endParaRPr lang="en-US" sz="2000" dirty="0">
              <a:solidFill>
                <a:schemeClr val="accent1">
                  <a:lumMod val="20000"/>
                  <a:lumOff val="8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99890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Air</a:t>
            </a:r>
            <a:r>
              <a:rPr lang="en-US" sz="2800" i="1" dirty="0" smtClean="0">
                <a:latin typeface="Arial" panose="020B0604020202020204" pitchFamily="34" charset="0"/>
                <a:cs typeface="Arial" panose="020B0604020202020204" pitchFamily="34" charset="0"/>
              </a:rPr>
              <a:t>Life</a:t>
            </a: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 Medication Delivery Products</a:t>
            </a:r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834239" y="1199036"/>
            <a:ext cx="7490364" cy="5315082"/>
          </a:xfrm>
          <a:prstGeom prst="rect">
            <a:avLst/>
          </a:prstGeom>
        </p:spPr>
        <p:txBody>
          <a:bodyPr/>
          <a:lstStyle/>
          <a:p>
            <a:pPr marL="287338" marR="0" lvl="0" indent="-287338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z 2</a:t>
            </a:r>
            <a:endParaRPr lang="en-US" sz="20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spcBef>
                <a:spcPct val="20000"/>
              </a:spcBef>
              <a:defRPr/>
            </a:pP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Name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two of the physical differences between Misty Max 10 and Misty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Fast</a:t>
            </a:r>
          </a:p>
          <a:p>
            <a:pPr lvl="0">
              <a:spcBef>
                <a:spcPct val="20000"/>
              </a:spcBef>
              <a:defRPr/>
            </a:pPr>
            <a:r>
              <a:rPr lang="en-US" sz="12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ir </a:t>
            </a:r>
            <a:r>
              <a:rPr lang="en-US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rainment </a:t>
            </a:r>
            <a:r>
              <a:rPr lang="en-US" sz="12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, Swivel </a:t>
            </a:r>
            <a:r>
              <a:rPr lang="en-US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uthpiece with built-in </a:t>
            </a:r>
            <a:r>
              <a:rPr lang="en-US" sz="12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Tee, Modified </a:t>
            </a:r>
            <a:r>
              <a:rPr lang="en-US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t </a:t>
            </a:r>
            <a:r>
              <a:rPr lang="en-US" sz="12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ign, Jet </a:t>
            </a:r>
            <a:r>
              <a:rPr lang="en-US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ms </a:t>
            </a:r>
            <a:r>
              <a:rPr lang="en-US" sz="12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en-US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fferent sized </a:t>
            </a:r>
            <a:r>
              <a:rPr lang="en-US" sz="12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nings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en-US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How does Misty Fast work, compared to Misty Max ?</a:t>
            </a:r>
            <a:endParaRPr lang="en-US" sz="1400" baseline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2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rainment port increases pressure &amp; amount of drug 	</a:t>
            </a:r>
            <a:r>
              <a:rPr lang="en-US" sz="1200" dirty="0" err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bulised</a:t>
            </a:r>
            <a:r>
              <a:rPr lang="en-US" sz="12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12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baseline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400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When can Misty Fast </a:t>
            </a:r>
            <a:r>
              <a:rPr lang="en-US" sz="1400" i="1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not</a:t>
            </a:r>
            <a:r>
              <a:rPr lang="en-US" sz="1400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 be used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? Name 2 scenarios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2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vent circuit</a:t>
            </a:r>
            <a:r>
              <a:rPr lang="en-US" sz="12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 at home</a:t>
            </a:r>
            <a:endParaRPr lang="en-US" sz="1200" baseline="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A customer wants to convert Misty Max </a:t>
            </a:r>
            <a:r>
              <a:rPr lang="en-US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at#s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002438, 002439 and 002445 to Misty Fast.  What Misty Fast codes should they order?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2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me with FN at start</a:t>
            </a:r>
            <a:endParaRPr lang="en-US" sz="140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7338" marR="0" lvl="0" indent="-28733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lang="en-US" sz="1600" baseline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7338" marR="0" lvl="0" indent="-28733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5367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 fontScale="90000"/>
          </a:bodyPr>
          <a:lstStyle/>
          <a:p>
            <a:r>
              <a:rPr lang="en-GB" dirty="0" smtClean="0"/>
              <a:t>Activity</a:t>
            </a:r>
            <a:br>
              <a:rPr lang="en-GB" dirty="0" smtClean="0"/>
            </a:br>
            <a:r>
              <a:rPr lang="en-GB" dirty="0"/>
              <a:t/>
            </a:r>
            <a:br>
              <a:rPr lang="en-GB" dirty="0"/>
            </a:br>
            <a:r>
              <a:rPr lang="en-GB" dirty="0" smtClean="0"/>
              <a:t>hands on set up neb</a:t>
            </a:r>
            <a:br>
              <a:rPr lang="en-GB" dirty="0" smtClean="0"/>
            </a:br>
            <a:r>
              <a:rPr lang="en-GB" dirty="0" smtClean="0"/>
              <a:t>flow meter, saline</a:t>
            </a:r>
            <a:br>
              <a:rPr lang="en-GB" dirty="0" smtClean="0"/>
            </a:br>
            <a:r>
              <a:rPr lang="en-GB" dirty="0" smtClean="0"/>
              <a:t>open kits </a:t>
            </a:r>
            <a:br>
              <a:rPr lang="en-GB" dirty="0" smtClean="0"/>
            </a:br>
            <a:r>
              <a:rPr lang="en-GB" dirty="0" smtClean="0"/>
              <a:t>use the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1804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6710218" cy="1143000"/>
          </a:xfrm>
        </p:spPr>
        <p:txBody>
          <a:bodyPr anchor="t">
            <a:normAutofit/>
          </a:bodyPr>
          <a:lstStyle/>
          <a:p>
            <a:r>
              <a:rPr lang="en-US" dirty="0" smtClean="0">
                <a:latin typeface="+mj-lt"/>
              </a:rPr>
              <a:t>Why should a customer convert to Misty Fast?</a:t>
            </a:r>
            <a:endParaRPr lang="en-US" dirty="0">
              <a:latin typeface="+mj-lt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800" dirty="0" smtClean="0"/>
              <a:t>Time Savings = Cost Savings</a:t>
            </a:r>
            <a:endParaRPr lang="en-US" sz="1800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455" y="2624456"/>
            <a:ext cx="4090498" cy="2810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3379147" y="5749965"/>
            <a:ext cx="292188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hlinkClick r:id="rId3"/>
              </a:rPr>
              <a:t>www.carefusion.com/mistyfast</a:t>
            </a:r>
            <a:endParaRPr lang="en-US" sz="1200" dirty="0" smtClean="0"/>
          </a:p>
        </p:txBody>
      </p:sp>
      <p:pic>
        <p:nvPicPr>
          <p:cNvPr id="778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20386" y="2672062"/>
            <a:ext cx="3648764" cy="28098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ight Arrow 7"/>
          <p:cNvSpPr/>
          <p:nvPr/>
        </p:nvSpPr>
        <p:spPr>
          <a:xfrm>
            <a:off x="4548255" y="3740728"/>
            <a:ext cx="522515" cy="439387"/>
          </a:xfrm>
          <a:prstGeom prst="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smtClean="0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48681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8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  <p:bldP spid="6" grpId="0"/>
      <p:bldP spid="8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pPr algn="l"/>
            <a:r>
              <a:rPr lang="en-US" dirty="0" smtClean="0">
                <a:latin typeface="+mj-lt"/>
              </a:rPr>
              <a:t>Misty Fast Landing Page</a:t>
            </a:r>
            <a:endParaRPr lang="en-US" dirty="0">
              <a:latin typeface="+mj-lt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224007" y="5260769"/>
            <a:ext cx="757645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2"/>
              </a:rPr>
              <a:t>http://staging.interactive.columnfivemedia.com/carefusion/misty-fast</a:t>
            </a:r>
            <a:r>
              <a:rPr lang="en-US" dirty="0" smtClean="0">
                <a:hlinkClick r:id="rId2"/>
              </a:rPr>
              <a:t>/</a:t>
            </a:r>
            <a:endParaRPr lang="en-US" dirty="0" smtClean="0"/>
          </a:p>
          <a:p>
            <a:endParaRPr lang="en-US" dirty="0"/>
          </a:p>
        </p:txBody>
      </p:sp>
      <p:pic>
        <p:nvPicPr>
          <p:cNvPr id="7680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5499" y="1580932"/>
            <a:ext cx="6357999" cy="331677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129147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 smtClean="0"/>
              <a:t>Misty Fast Sales Tools</a:t>
            </a:r>
            <a:endParaRPr lang="en-US" sz="2800" dirty="0"/>
          </a:p>
        </p:txBody>
      </p:sp>
      <p:sp>
        <p:nvSpPr>
          <p:cNvPr id="7" name="Content Placeholder 6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pPr marL="0" lvl="0" indent="0">
              <a:buNone/>
              <a:defRPr/>
            </a:pPr>
            <a:r>
              <a:rPr lang="en-US" sz="2400" u="sng" dirty="0"/>
              <a:t>Sales Tools Available</a:t>
            </a:r>
          </a:p>
          <a:p>
            <a:pPr marL="457200" lvl="0" indent="-457200">
              <a:buFont typeface="Arial" charset="0"/>
              <a:buChar char="•"/>
              <a:defRPr/>
            </a:pPr>
            <a:r>
              <a:rPr lang="en-US" sz="2000" dirty="0"/>
              <a:t>Brochure</a:t>
            </a:r>
          </a:p>
          <a:p>
            <a:pPr marL="457200" lvl="0" indent="-457200">
              <a:buFont typeface="Arial" charset="0"/>
              <a:buChar char="•"/>
              <a:defRPr/>
            </a:pPr>
            <a:r>
              <a:rPr lang="en-US" sz="2000" dirty="0"/>
              <a:t>Time savings calculator</a:t>
            </a:r>
          </a:p>
          <a:p>
            <a:pPr marL="457200" lvl="0" indent="-457200">
              <a:buFont typeface="Arial" charset="0"/>
              <a:buChar char="•"/>
              <a:defRPr/>
            </a:pPr>
            <a:r>
              <a:rPr lang="en-US" sz="2000" dirty="0"/>
              <a:t>Animation Video</a:t>
            </a:r>
          </a:p>
          <a:p>
            <a:pPr marL="457200" lvl="0" indent="-457200">
              <a:buFont typeface="Arial" charset="0"/>
              <a:buChar char="•"/>
              <a:defRPr/>
            </a:pPr>
            <a:r>
              <a:rPr lang="en-US" sz="2000" dirty="0" smtClean="0">
                <a:solidFill>
                  <a:schemeClr val="tx2"/>
                </a:solidFill>
              </a:rPr>
              <a:t>Customer Messaging Presentation (Whitepaper executive summary)</a:t>
            </a:r>
          </a:p>
          <a:p>
            <a:pPr marL="0" indent="0">
              <a:buNone/>
            </a:pPr>
            <a:endParaRPr lang="en-US" sz="2400" dirty="0"/>
          </a:p>
        </p:txBody>
      </p:sp>
      <p:sp>
        <p:nvSpPr>
          <p:cNvPr id="8" name="Content Placeholder 7"/>
          <p:cNvSpPr>
            <a:spLocks noGrp="1"/>
          </p:cNvSpPr>
          <p:nvPr>
            <p:ph sz="half" idx="2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u="sng" dirty="0" smtClean="0"/>
              <a:t>Additional Resources</a:t>
            </a:r>
          </a:p>
          <a:p>
            <a:pPr>
              <a:defRPr/>
            </a:pPr>
            <a:r>
              <a:rPr lang="en-US" sz="2000" dirty="0" smtClean="0"/>
              <a:t>Tech bulletins</a:t>
            </a:r>
          </a:p>
          <a:p>
            <a:pPr>
              <a:defRPr/>
            </a:pPr>
            <a:r>
              <a:rPr lang="en-US" sz="2000" dirty="0" smtClean="0"/>
              <a:t>Whitepaper</a:t>
            </a:r>
            <a:endParaRPr lang="en-US" sz="2000" dirty="0"/>
          </a:p>
        </p:txBody>
      </p:sp>
      <p:pic>
        <p:nvPicPr>
          <p:cNvPr id="7475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0873" y="3193762"/>
            <a:ext cx="2268537" cy="1993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593114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en-US" sz="2800" dirty="0" smtClean="0"/>
              <a:t>Air</a:t>
            </a:r>
            <a:r>
              <a:rPr lang="en-US" sz="2800" i="1" dirty="0" smtClean="0"/>
              <a:t>Life</a:t>
            </a:r>
            <a:r>
              <a:rPr lang="en-US" sz="2800" dirty="0" smtClean="0"/>
              <a:t> Medication Delivery Products</a:t>
            </a:r>
            <a:endParaRPr lang="en-US" sz="2800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834239" y="921945"/>
            <a:ext cx="7202384" cy="4813835"/>
          </a:xfrm>
          <a:prstGeom prst="rect">
            <a:avLst/>
          </a:prstGeom>
        </p:spPr>
        <p:txBody>
          <a:bodyPr/>
          <a:lstStyle/>
          <a:p>
            <a:pPr marL="287338" marR="0" lvl="0" indent="-287338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2800" dirty="0" smtClean="0">
                <a:solidFill>
                  <a:schemeClr val="tx2"/>
                </a:solidFill>
              </a:rPr>
              <a:t>Quiz 3</a:t>
            </a:r>
            <a:endParaRPr lang="en-US" sz="2800" dirty="0">
              <a:solidFill>
                <a:schemeClr val="tx2"/>
              </a:solidFill>
            </a:endParaRPr>
          </a:p>
          <a:p>
            <a:pPr marL="287338" marR="0" lvl="0" indent="-28733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000" b="1" i="0" u="none" strike="noStrike" kern="1200" cap="none" spc="0" normalizeH="0" noProof="0" dirty="0" smtClean="0">
              <a:ln>
                <a:noFill/>
              </a:ln>
              <a:solidFill>
                <a:srgbClr val="3B6E8F"/>
              </a:solidFill>
              <a:effectLst/>
              <a:uLnTx/>
              <a:uFillTx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2000" baseline="0" dirty="0" smtClean="0"/>
              <a:t>What is the primary benefit of Misty</a:t>
            </a:r>
            <a:r>
              <a:rPr lang="en-US" sz="2000" dirty="0" smtClean="0"/>
              <a:t> Fast to a customer?</a:t>
            </a:r>
          </a:p>
          <a:p>
            <a:pPr lvl="1">
              <a:spcBef>
                <a:spcPct val="20000"/>
              </a:spcBef>
              <a:defRPr/>
            </a:pPr>
            <a:r>
              <a:rPr lang="en-US" sz="2000" dirty="0"/>
              <a:t>	</a:t>
            </a:r>
            <a:r>
              <a:rPr lang="en-US" dirty="0" smtClean="0">
                <a:solidFill>
                  <a:schemeClr val="tx2"/>
                </a:solidFill>
              </a:rPr>
              <a:t>reduced treatment time</a:t>
            </a:r>
            <a:endParaRPr lang="en-US" sz="2000" dirty="0">
              <a:solidFill>
                <a:schemeClr val="tx2"/>
              </a:solidFill>
            </a:endParaRPr>
          </a:p>
          <a:p>
            <a:pPr>
              <a:spcBef>
                <a:spcPct val="20000"/>
              </a:spcBef>
              <a:defRPr/>
            </a:pPr>
            <a:r>
              <a:rPr lang="en-US" sz="2000" dirty="0" smtClean="0"/>
              <a:t>Name at least 3 ways converting to Misty Fast has benefited customers? </a:t>
            </a:r>
            <a:r>
              <a:rPr lang="en-US" sz="2000" i="1" dirty="0" smtClean="0"/>
              <a:t>Don’t need specific numbers? </a:t>
            </a:r>
          </a:p>
          <a:p>
            <a:pPr>
              <a:spcBef>
                <a:spcPct val="20000"/>
              </a:spcBef>
              <a:defRPr/>
            </a:pPr>
            <a:r>
              <a:rPr lang="en-US" sz="2000" i="1" dirty="0" smtClean="0"/>
              <a:t> 	</a:t>
            </a:r>
            <a:r>
              <a:rPr lang="en-US" dirty="0" smtClean="0">
                <a:solidFill>
                  <a:schemeClr val="tx2"/>
                </a:solidFill>
              </a:rPr>
              <a:t>more </a:t>
            </a:r>
            <a:r>
              <a:rPr lang="en-US" dirty="0">
                <a:solidFill>
                  <a:schemeClr val="tx2"/>
                </a:solidFill>
              </a:rPr>
              <a:t>time back, improved workflows, </a:t>
            </a:r>
            <a:r>
              <a:rPr lang="en-US" dirty="0" smtClean="0">
                <a:solidFill>
                  <a:schemeClr val="tx2"/>
                </a:solidFill>
              </a:rPr>
              <a:t>reduced 	AFM 	(cost )</a:t>
            </a:r>
          </a:p>
          <a:p>
            <a:pPr>
              <a:spcBef>
                <a:spcPct val="20000"/>
              </a:spcBef>
              <a:defRPr/>
            </a:pPr>
            <a:endParaRPr lang="en-US" sz="2000" i="1" dirty="0" smtClean="0"/>
          </a:p>
          <a:p>
            <a:pPr>
              <a:spcBef>
                <a:spcPct val="20000"/>
              </a:spcBef>
              <a:defRPr/>
            </a:pPr>
            <a:r>
              <a:rPr lang="en-US" sz="2000" dirty="0"/>
              <a:t>What is the most important resource you can use to help with conversions?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2000" baseline="0" dirty="0" smtClean="0"/>
              <a:t>	</a:t>
            </a:r>
            <a:r>
              <a:rPr lang="en-US" dirty="0" smtClean="0">
                <a:solidFill>
                  <a:schemeClr val="tx2"/>
                </a:solidFill>
              </a:rPr>
              <a:t>Whitepaper?...  </a:t>
            </a:r>
            <a:r>
              <a:rPr lang="en-US" dirty="0" err="1" smtClean="0">
                <a:solidFill>
                  <a:schemeClr val="tx2"/>
                </a:solidFill>
              </a:rPr>
              <a:t>Int</a:t>
            </a:r>
            <a:r>
              <a:rPr lang="en-US" dirty="0" smtClean="0">
                <a:solidFill>
                  <a:schemeClr val="tx2"/>
                </a:solidFill>
              </a:rPr>
              <a:t> = Cost </a:t>
            </a:r>
            <a:r>
              <a:rPr lang="en-US" dirty="0" err="1" smtClean="0">
                <a:solidFill>
                  <a:schemeClr val="tx2"/>
                </a:solidFill>
              </a:rPr>
              <a:t>calc</a:t>
            </a:r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3792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4754" name="Picture 2" descr="C:\Data\Vital Signs\124030EU_Photo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15" t="16406" r="3567" b="24028"/>
          <a:stretch/>
        </p:blipFill>
        <p:spPr bwMode="auto">
          <a:xfrm>
            <a:off x="3479290" y="3210561"/>
            <a:ext cx="4103139" cy="18310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smtClean="0"/>
              <a:t>Medication </a:t>
            </a:r>
            <a:r>
              <a:rPr lang="en-US" sz="2800" dirty="0" smtClean="0"/>
              <a:t>Delivery Products</a:t>
            </a:r>
            <a:endParaRPr lang="en-US" sz="2800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457200" y="1489253"/>
            <a:ext cx="8229600" cy="2940243"/>
          </a:xfrm>
          <a:prstGeom prst="rect">
            <a:avLst/>
          </a:prstGeom>
        </p:spPr>
        <p:txBody>
          <a:bodyPr/>
          <a:lstStyle/>
          <a:p>
            <a:pPr marL="287338" marR="0" lvl="0" indent="-28733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B6E8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irLife filtered nebulizer system*</a:t>
            </a:r>
          </a:p>
          <a:p>
            <a:pPr marL="287338" marR="0" lvl="0" indent="-28733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800" b="1" i="0" u="none" strike="noStrike" kern="1200" cap="none" spc="0" normalizeH="0" noProof="0" dirty="0" smtClean="0">
              <a:ln>
                <a:noFill/>
              </a:ln>
              <a:solidFill>
                <a:srgbClr val="3B6E8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87338" marR="0" lvl="0" indent="-28733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2000" baseline="0" dirty="0" smtClean="0"/>
              <a:t>Only product available</a:t>
            </a:r>
            <a:r>
              <a:rPr lang="en-US" sz="2000" dirty="0" smtClean="0"/>
              <a:t> that has been tested with </a:t>
            </a:r>
            <a:r>
              <a:rPr lang="en-US" sz="2000" dirty="0"/>
              <a:t>t</a:t>
            </a:r>
            <a:r>
              <a:rPr lang="en-US" sz="2000" baseline="0" dirty="0" smtClean="0"/>
              <a:t>ested with the drug, </a:t>
            </a:r>
            <a:r>
              <a:rPr lang="en-US" sz="2000" baseline="0" dirty="0" err="1" smtClean="0"/>
              <a:t>Pentamidine</a:t>
            </a:r>
            <a:endParaRPr lang="en-US" sz="2000" baseline="0" dirty="0" smtClean="0"/>
          </a:p>
          <a:p>
            <a:pPr marL="287338" marR="0" lvl="0" indent="-28733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2000" dirty="0" err="1" smtClean="0"/>
              <a:t>Pentamidine</a:t>
            </a:r>
            <a:r>
              <a:rPr lang="en-US" sz="2000" dirty="0" smtClean="0"/>
              <a:t> is used to treat PCP, a very serious form of pneumonia commonly found in patients with AIDS</a:t>
            </a:r>
            <a:endParaRPr lang="en-US" sz="2000" dirty="0"/>
          </a:p>
          <a:p>
            <a:pPr marL="287338" marR="0" lvl="0" indent="-28733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2000" dirty="0" smtClean="0"/>
              <a:t>Target Price: $5.80 / unit</a:t>
            </a:r>
            <a:endParaRPr lang="en-US" sz="2000" baseline="0" dirty="0" smtClean="0"/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45449"/>
              </p:ext>
            </p:extLst>
          </p:nvPr>
        </p:nvGraphicFramePr>
        <p:xfrm>
          <a:off x="1330036" y="5089104"/>
          <a:ext cx="6234520" cy="797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24797"/>
                <a:gridCol w="3925672"/>
                <a:gridCol w="1384051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P/N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smtClean="0"/>
                        <a:t>Description</a:t>
                      </a:r>
                      <a:endParaRPr 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smtClean="0"/>
                        <a:t>Packaging</a:t>
                      </a:r>
                      <a:endParaRPr lang="en-US" sz="1100"/>
                    </a:p>
                  </a:txBody>
                  <a:tcPr/>
                </a:tc>
              </a:tr>
              <a:tr h="426720">
                <a:tc>
                  <a:txBody>
                    <a:bodyPr/>
                    <a:lstStyle/>
                    <a:p>
                      <a:r>
                        <a:rPr lang="en-US" sz="1100" smtClean="0"/>
                        <a:t>124030EU</a:t>
                      </a:r>
                      <a:endParaRPr 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AirLife</a:t>
                      </a:r>
                      <a:r>
                        <a:rPr lang="en-US" sz="1100" baseline="0" dirty="0" smtClean="0"/>
                        <a:t> filtered nebulizer system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20 / Case</a:t>
                      </a:r>
                      <a:endParaRPr lang="en-US" sz="11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4" name="Content Placeholder 2"/>
          <p:cNvSpPr txBox="1">
            <a:spLocks/>
          </p:cNvSpPr>
          <p:nvPr/>
        </p:nvSpPr>
        <p:spPr>
          <a:xfrm>
            <a:off x="277091" y="6169582"/>
            <a:ext cx="3475512" cy="296535"/>
          </a:xfrm>
          <a:prstGeom prst="rect">
            <a:avLst/>
          </a:prstGeom>
        </p:spPr>
        <p:txBody>
          <a:bodyPr/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000" baseline="0" smtClean="0">
                <a:solidFill>
                  <a:schemeClr val="accent1">
                    <a:lumMod val="20000"/>
                    <a:lumOff val="80000"/>
                  </a:schemeClr>
                </a:solidFill>
              </a:rPr>
              <a:t>* Formerly known as Respirgard II neb system</a:t>
            </a:r>
            <a:endParaRPr kumimoji="0" lang="en-US" sz="1000" i="0" u="none" strike="noStrike" kern="1200" cap="none" spc="0" normalizeH="0" baseline="0" noProof="0" dirty="0" smtClean="0">
              <a:ln>
                <a:noFill/>
              </a:ln>
              <a:solidFill>
                <a:schemeClr val="accent1">
                  <a:lumMod val="20000"/>
                  <a:lumOff val="80000"/>
                </a:scheme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1390814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ppendix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BDE47-A11E-FE42-85BD-DB007C88386C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28336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722315" y="4032181"/>
            <a:ext cx="8029801" cy="15866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b="1" kern="1200">
                <a:solidFill>
                  <a:srgbClr val="242852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US" sz="2800" dirty="0" smtClean="0">
                <a:solidFill>
                  <a:schemeClr val="accent1">
                    <a:lumMod val="20000"/>
                    <a:lumOff val="80000"/>
                  </a:schemeClr>
                </a:solidFill>
              </a:rPr>
              <a:t>Medication Nebulizers</a:t>
            </a:r>
            <a:br>
              <a:rPr lang="en-US" sz="2800" dirty="0" smtClean="0">
                <a:solidFill>
                  <a:schemeClr val="accent1">
                    <a:lumMod val="20000"/>
                    <a:lumOff val="80000"/>
                  </a:schemeClr>
                </a:solidFill>
              </a:rPr>
            </a:br>
            <a:r>
              <a:rPr lang="en-US" sz="2000" dirty="0" smtClean="0">
                <a:solidFill>
                  <a:schemeClr val="accent1">
                    <a:lumMod val="20000"/>
                    <a:lumOff val="80000"/>
                  </a:schemeClr>
                </a:solidFill>
              </a:rPr>
              <a:t>Small Volume Nebulizers Competitive Overview</a:t>
            </a:r>
            <a:br>
              <a:rPr lang="en-US" sz="2000" dirty="0" smtClean="0">
                <a:solidFill>
                  <a:schemeClr val="accent1">
                    <a:lumMod val="20000"/>
                    <a:lumOff val="80000"/>
                  </a:schemeClr>
                </a:solidFill>
              </a:rPr>
            </a:br>
            <a:r>
              <a:rPr lang="en-US" sz="2000" dirty="0" smtClean="0">
                <a:solidFill>
                  <a:schemeClr val="accent1">
                    <a:lumMod val="20000"/>
                    <a:lumOff val="80000"/>
                  </a:schemeClr>
                </a:solidFill>
              </a:rPr>
              <a:t>	</a:t>
            </a:r>
            <a:endParaRPr lang="en-US" sz="2000" dirty="0">
              <a:solidFill>
                <a:schemeClr val="accent1">
                  <a:lumMod val="20000"/>
                  <a:lumOff val="8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0547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andard SVN Competition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3449667" y="1410459"/>
            <a:ext cx="27550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err="1" smtClean="0"/>
              <a:t>Intersurgical</a:t>
            </a:r>
            <a:endParaRPr lang="en-US" b="1" dirty="0" smtClean="0"/>
          </a:p>
          <a:p>
            <a:pPr algn="ctr"/>
            <a:r>
              <a:rPr lang="en-US" b="1" dirty="0" smtClean="0"/>
              <a:t>Cirrus 2</a:t>
            </a:r>
            <a:endParaRPr lang="en-US" b="1" dirty="0"/>
          </a:p>
        </p:txBody>
      </p:sp>
      <p:pic>
        <p:nvPicPr>
          <p:cNvPr id="80899" name="Picture 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510" t="9311" r="11207" b="9990"/>
          <a:stretch/>
        </p:blipFill>
        <p:spPr bwMode="auto">
          <a:xfrm>
            <a:off x="6380182" y="2486276"/>
            <a:ext cx="2247176" cy="2434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6233259" y="1380073"/>
            <a:ext cx="254102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Salter </a:t>
            </a:r>
          </a:p>
          <a:p>
            <a:pPr algn="ctr"/>
            <a:r>
              <a:rPr lang="en-US" b="1" dirty="0" err="1" smtClean="0"/>
              <a:t>Nebutech</a:t>
            </a:r>
            <a:endParaRPr lang="en-US" b="1" dirty="0"/>
          </a:p>
        </p:txBody>
      </p:sp>
      <p:pic>
        <p:nvPicPr>
          <p:cNvPr id="80900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519" y="1907853"/>
            <a:ext cx="2892880" cy="289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596448" y="1380073"/>
            <a:ext cx="254102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Hudson </a:t>
            </a:r>
          </a:p>
          <a:p>
            <a:pPr algn="ctr"/>
            <a:r>
              <a:rPr lang="en-US" b="1" dirty="0" err="1" smtClean="0"/>
              <a:t>Micromist</a:t>
            </a:r>
            <a:endParaRPr lang="en-US" b="1" dirty="0"/>
          </a:p>
        </p:txBody>
      </p:sp>
      <p:pic>
        <p:nvPicPr>
          <p:cNvPr id="7885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2768" y="2171699"/>
            <a:ext cx="1988872" cy="27490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26302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What is a medication nebulizer?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457200" y="1076327"/>
            <a:ext cx="8229600" cy="4752975"/>
          </a:xfrm>
          <a:prstGeom prst="rect">
            <a:avLst/>
          </a:prstGeom>
        </p:spPr>
        <p:txBody>
          <a:bodyPr/>
          <a:lstStyle/>
          <a:p>
            <a:pPr marL="342900" indent="-342900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A device used to administer medication in the form of an aerosol (mist) inhaled into the lungs.</a:t>
            </a:r>
          </a:p>
          <a:p>
            <a:pPr marL="342900" indent="-342900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Used for the treatment of asthma, COPD and other respiratory diseases</a:t>
            </a:r>
          </a:p>
          <a:p>
            <a:pPr>
              <a:spcBef>
                <a:spcPct val="20000"/>
              </a:spcBef>
              <a:defRPr/>
            </a:pPr>
            <a:endParaRPr 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7338" lvl="0" indent="-287338">
              <a:spcBef>
                <a:spcPct val="20000"/>
              </a:spcBef>
              <a:defRPr/>
            </a:pPr>
            <a:endParaRPr lang="en-US" sz="2000" b="1" dirty="0" smtClean="0">
              <a:solidFill>
                <a:srgbClr val="3B6E8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5778" name="Picture 2" descr="https://s-media-cache-ak0.pinimg.com/736x/44/e7/ca/44e7ca338c2add9694105aac36ffd7f8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6817" y="2494099"/>
            <a:ext cx="4012665" cy="33352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18447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Small Volume Nebulizer - Competition</a:t>
            </a: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457200" y="1352509"/>
            <a:ext cx="7202384" cy="5003841"/>
          </a:xfrm>
          <a:prstGeom prst="rect">
            <a:avLst/>
          </a:prstGeom>
        </p:spPr>
        <p:txBody>
          <a:bodyPr/>
          <a:lstStyle/>
          <a:p>
            <a:pPr marL="287338" marR="0" lvl="0" indent="-28733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0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3B6E8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tersurgical</a:t>
            </a:r>
            <a:endParaRPr kumimoji="0" lang="en-US" sz="2000" b="1" i="0" u="none" strike="noStrike" kern="1200" cap="none" spc="0" normalizeH="0" noProof="0" dirty="0" smtClean="0">
              <a:ln>
                <a:noFill/>
              </a:ln>
              <a:solidFill>
                <a:srgbClr val="3B6E8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000" baseline="0" dirty="0" smtClean="0"/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baseline="0" dirty="0" smtClean="0"/>
              <a:t>Cirrus 2 </a:t>
            </a:r>
          </a:p>
          <a:p>
            <a:pPr marL="744538" lvl="1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baseline="0" dirty="0" smtClean="0"/>
              <a:t>Basic SVN</a:t>
            </a:r>
          </a:p>
          <a:p>
            <a:pPr marL="744538" lvl="1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dirty="0" smtClean="0"/>
              <a:t>ASP: $0.74 chamber only</a:t>
            </a:r>
          </a:p>
          <a:p>
            <a:pPr marL="744538" lvl="1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baseline="0" dirty="0" smtClean="0"/>
              <a:t>ASP</a:t>
            </a:r>
            <a:r>
              <a:rPr lang="en-US" dirty="0" smtClean="0"/>
              <a:t>: $1.17 with Mask</a:t>
            </a:r>
          </a:p>
          <a:p>
            <a:pPr marL="744538" lvl="1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baseline="0" dirty="0" smtClean="0"/>
              <a:t>Strong on Contract</a:t>
            </a:r>
          </a:p>
          <a:p>
            <a:pPr marL="744538" lvl="1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dirty="0" smtClean="0"/>
              <a:t>Multiple kit configurations</a:t>
            </a:r>
          </a:p>
          <a:p>
            <a:pPr marL="1201738" lvl="2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dirty="0" smtClean="0"/>
              <a:t>High-Efficiency Option (Hot top)</a:t>
            </a:r>
          </a:p>
          <a:p>
            <a:pPr marL="1201738" lvl="2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dirty="0" smtClean="0"/>
              <a:t>ASP: $1.50</a:t>
            </a:r>
          </a:p>
          <a:p>
            <a:pPr marL="744538" lvl="1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dirty="0" smtClean="0"/>
              <a:t>Handheld use</a:t>
            </a:r>
          </a:p>
          <a:p>
            <a:pPr marL="744538" lvl="1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dirty="0" smtClean="0"/>
              <a:t>Inline use</a:t>
            </a:r>
          </a:p>
          <a:p>
            <a:pPr marL="744538" lvl="1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dirty="0" smtClean="0"/>
              <a:t>Various accessories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6897" y="1202651"/>
            <a:ext cx="1619999" cy="22391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8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5821" y="3919441"/>
            <a:ext cx="1962150" cy="2324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22990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Small Volume Nebulizer - Competition</a:t>
            </a: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431025" y="1352509"/>
            <a:ext cx="7202384" cy="5003841"/>
          </a:xfrm>
          <a:prstGeom prst="rect">
            <a:avLst/>
          </a:prstGeom>
        </p:spPr>
        <p:txBody>
          <a:bodyPr/>
          <a:lstStyle/>
          <a:p>
            <a:pPr marL="287338" marR="0" lvl="0" indent="-28733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B6E8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eleflex Micro Mist</a:t>
            </a:r>
          </a:p>
          <a:p>
            <a:pPr marL="287338" marR="0" lvl="0" indent="-28733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000" b="1" i="0" u="none" strike="noStrike" kern="1200" cap="none" spc="0" normalizeH="0" noProof="0" dirty="0" smtClean="0">
              <a:ln>
                <a:noFill/>
              </a:ln>
              <a:solidFill>
                <a:srgbClr val="3B6E8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baseline="0" dirty="0" smtClean="0"/>
              <a:t>Micro-Mist SVN (Teleflex)</a:t>
            </a:r>
          </a:p>
          <a:p>
            <a:pPr marL="744538" lvl="1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baseline="0" dirty="0" smtClean="0"/>
              <a:t>Basic SVN</a:t>
            </a:r>
          </a:p>
          <a:p>
            <a:pPr marL="744538" lvl="1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dirty="0" smtClean="0"/>
              <a:t>ASP: $0.78 chamber only</a:t>
            </a:r>
          </a:p>
          <a:p>
            <a:pPr marL="744538" lvl="1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baseline="0" dirty="0" smtClean="0"/>
              <a:t>ASP</a:t>
            </a:r>
            <a:r>
              <a:rPr lang="en-US" dirty="0" smtClean="0"/>
              <a:t>: $1.22 with Mask</a:t>
            </a:r>
          </a:p>
          <a:p>
            <a:pPr marL="744538" lvl="1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baseline="0" dirty="0" smtClean="0"/>
              <a:t>Strong on Contract</a:t>
            </a:r>
          </a:p>
          <a:p>
            <a:pPr marL="744538" lvl="1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dirty="0" smtClean="0"/>
              <a:t>Multiple kit configurations</a:t>
            </a:r>
          </a:p>
          <a:p>
            <a:pPr marL="1201738" lvl="2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dirty="0" smtClean="0"/>
              <a:t>High-Efficiency Option (Aero-Tee)</a:t>
            </a:r>
          </a:p>
          <a:p>
            <a:pPr marL="1201738" lvl="2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dirty="0" smtClean="0"/>
              <a:t>ASP: $2.36</a:t>
            </a:r>
          </a:p>
          <a:p>
            <a:pPr marL="744538" lvl="1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dirty="0" smtClean="0"/>
              <a:t>Handheld use</a:t>
            </a:r>
          </a:p>
          <a:p>
            <a:pPr marL="744538" lvl="1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dirty="0" smtClean="0"/>
              <a:t>Inline use</a:t>
            </a:r>
          </a:p>
          <a:p>
            <a:pPr marL="744538" lvl="1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dirty="0" smtClean="0"/>
              <a:t>Various accessories</a:t>
            </a:r>
          </a:p>
        </p:txBody>
      </p:sp>
      <p:pic>
        <p:nvPicPr>
          <p:cNvPr id="1026" name="Picture 2" descr="1883 micro mist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20295" y="1230707"/>
            <a:ext cx="2476500" cy="2476501"/>
          </a:xfrm>
          <a:prstGeom prst="rect">
            <a:avLst/>
          </a:prstGeom>
          <a:noFill/>
        </p:spPr>
      </p:pic>
      <p:pic>
        <p:nvPicPr>
          <p:cNvPr id="1028" name="Picture 4" descr="1890 aeroT neb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10800000">
            <a:off x="6020295" y="4069449"/>
            <a:ext cx="2476500" cy="1552576"/>
          </a:xfrm>
          <a:prstGeom prst="rect">
            <a:avLst/>
          </a:prstGeom>
          <a:noFill/>
        </p:spPr>
      </p:pic>
      <p:sp>
        <p:nvSpPr>
          <p:cNvPr id="11" name="TextBox 10"/>
          <p:cNvSpPr txBox="1"/>
          <p:nvPr/>
        </p:nvSpPr>
        <p:spPr>
          <a:xfrm>
            <a:off x="6709558" y="5501298"/>
            <a:ext cx="109253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smtClean="0"/>
              <a:t>Aero-Tee</a:t>
            </a:r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2008976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Small Volume Nebulizer - Competition</a:t>
            </a: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433125" y="1285861"/>
            <a:ext cx="7202384" cy="5003841"/>
          </a:xfrm>
          <a:prstGeom prst="rect">
            <a:avLst/>
          </a:prstGeom>
        </p:spPr>
        <p:txBody>
          <a:bodyPr/>
          <a:lstStyle/>
          <a:p>
            <a:pPr marL="287338" marR="0" lvl="0" indent="-28733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B6E8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alter</a:t>
            </a:r>
          </a:p>
          <a:p>
            <a:pPr marL="287338" marR="0" lvl="0" indent="-28733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000" b="1" i="0" u="none" strike="noStrike" kern="1200" cap="none" spc="0" normalizeH="0" noProof="0" dirty="0" smtClean="0">
              <a:ln>
                <a:noFill/>
              </a:ln>
              <a:solidFill>
                <a:srgbClr val="3B6E8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2000" baseline="0" dirty="0" err="1" smtClean="0"/>
              <a:t>Nebutech</a:t>
            </a:r>
            <a:r>
              <a:rPr lang="en-US" sz="2000" baseline="0" dirty="0" smtClean="0"/>
              <a:t> (Salter)</a:t>
            </a:r>
          </a:p>
          <a:p>
            <a:pPr marL="744538" lvl="1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2000" baseline="0" dirty="0" smtClean="0"/>
              <a:t>Basic SVN</a:t>
            </a:r>
          </a:p>
          <a:p>
            <a:pPr marL="744538" lvl="1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2000" dirty="0" smtClean="0"/>
              <a:t>ASP: $0.61 chamber only</a:t>
            </a:r>
          </a:p>
          <a:p>
            <a:pPr marL="744538" lvl="1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2000" dirty="0" smtClean="0"/>
              <a:t>ASP: $1.10 with mask </a:t>
            </a:r>
          </a:p>
          <a:p>
            <a:pPr marL="744538" lvl="1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2000" dirty="0" smtClean="0"/>
              <a:t>Some contract positions</a:t>
            </a:r>
          </a:p>
          <a:p>
            <a:pPr marL="744538" lvl="1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endParaRPr lang="en-US" sz="2000" dirty="0" smtClean="0"/>
          </a:p>
          <a:p>
            <a:pPr>
              <a:spcBef>
                <a:spcPct val="20000"/>
              </a:spcBef>
              <a:defRPr/>
            </a:pPr>
            <a:r>
              <a:rPr lang="en-US" sz="2000" baseline="0" dirty="0" smtClean="0"/>
              <a:t>8900-Series (Salter)</a:t>
            </a:r>
          </a:p>
          <a:p>
            <a:pPr marL="744538" lvl="1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2000" dirty="0" smtClean="0"/>
              <a:t>Basic SVN</a:t>
            </a:r>
          </a:p>
          <a:p>
            <a:pPr marL="744538" lvl="1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2000" dirty="0" smtClean="0"/>
              <a:t> ASP: $0.94 </a:t>
            </a:r>
            <a:r>
              <a:rPr lang="en-US" sz="1600" dirty="0" smtClean="0"/>
              <a:t>(expensive)</a:t>
            </a:r>
          </a:p>
          <a:p>
            <a:pPr marL="744538" lvl="1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2000" baseline="0" dirty="0" smtClean="0"/>
              <a:t>Minimal GPO contract positions</a:t>
            </a:r>
          </a:p>
          <a:p>
            <a:pPr marL="744538" lvl="1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2000" baseline="0" dirty="0" smtClean="0"/>
              <a:t>Salter focuses on homecare market</a:t>
            </a:r>
          </a:p>
        </p:txBody>
      </p:sp>
      <p:pic>
        <p:nvPicPr>
          <p:cNvPr id="9" name="Picture 12" descr="http://stlmedical.s3.amazonaws.com/ProdPics/HRSALT8900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492775" y="3569585"/>
            <a:ext cx="2194029" cy="1869315"/>
          </a:xfrm>
          <a:prstGeom prst="rect">
            <a:avLst/>
          </a:prstGeom>
          <a:noFill/>
        </p:spPr>
      </p:pic>
      <p:sp>
        <p:nvSpPr>
          <p:cNvPr id="11" name="TextBox 10"/>
          <p:cNvSpPr txBox="1"/>
          <p:nvPr/>
        </p:nvSpPr>
        <p:spPr>
          <a:xfrm>
            <a:off x="7362705" y="2983510"/>
            <a:ext cx="10782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smtClean="0"/>
              <a:t>NebuTech</a:t>
            </a:r>
            <a:endParaRPr lang="en-US" sz="1400"/>
          </a:p>
        </p:txBody>
      </p:sp>
      <p:sp>
        <p:nvSpPr>
          <p:cNvPr id="12" name="TextBox 11"/>
          <p:cNvSpPr txBox="1"/>
          <p:nvPr/>
        </p:nvSpPr>
        <p:spPr>
          <a:xfrm>
            <a:off x="7028016" y="5403060"/>
            <a:ext cx="12631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smtClean="0"/>
              <a:t>8900-series</a:t>
            </a:r>
            <a:endParaRPr lang="en-US" sz="1400"/>
          </a:p>
        </p:txBody>
      </p:sp>
      <p:pic>
        <p:nvPicPr>
          <p:cNvPr id="7475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2878" y="1285861"/>
            <a:ext cx="2012991" cy="16549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32360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Small Volume Nebulizer - Competition</a:t>
            </a:r>
            <a:br>
              <a:rPr lang="en-US" sz="2800" dirty="0"/>
            </a:br>
            <a:endParaRPr lang="en-US" sz="2800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457200" y="1076327"/>
            <a:ext cx="7202384" cy="5003841"/>
          </a:xfrm>
          <a:prstGeom prst="rect">
            <a:avLst/>
          </a:prstGeom>
        </p:spPr>
        <p:txBody>
          <a:bodyPr/>
          <a:lstStyle/>
          <a:p>
            <a:pPr marL="287338" marR="0" lvl="0" indent="-28733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B6E8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est Med – </a:t>
            </a:r>
            <a:r>
              <a:rPr kumimoji="0" lang="en-US" sz="20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3B6E8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Vix</a:t>
            </a: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B6E8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One</a:t>
            </a:r>
          </a:p>
          <a:p>
            <a:pPr marL="287338" marR="0" lvl="0" indent="-28733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000" b="1" i="0" u="none" strike="noStrike" kern="1200" cap="none" spc="0" normalizeH="0" noProof="0" dirty="0" smtClean="0">
              <a:ln>
                <a:noFill/>
              </a:ln>
              <a:solidFill>
                <a:srgbClr val="3B6E8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2000" baseline="0" dirty="0" err="1" smtClean="0"/>
              <a:t>Vix</a:t>
            </a:r>
            <a:r>
              <a:rPr lang="en-US" sz="2000" baseline="0" dirty="0" smtClean="0"/>
              <a:t>-One (</a:t>
            </a:r>
            <a:r>
              <a:rPr lang="en-US" sz="2000" baseline="0" dirty="0" err="1" smtClean="0"/>
              <a:t>Westmed</a:t>
            </a:r>
            <a:r>
              <a:rPr lang="en-US" sz="2000" baseline="0" dirty="0" smtClean="0"/>
              <a:t>)</a:t>
            </a:r>
          </a:p>
          <a:p>
            <a:pPr marL="744538" lvl="1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2000" baseline="0" dirty="0" smtClean="0"/>
              <a:t>Basic SVN</a:t>
            </a:r>
          </a:p>
          <a:p>
            <a:pPr marL="744538" lvl="1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2000" dirty="0" smtClean="0"/>
              <a:t>ASP: $1.00 </a:t>
            </a:r>
          </a:p>
          <a:p>
            <a:pPr marL="744538" lvl="1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2000" dirty="0" smtClean="0"/>
              <a:t>Minimal contract positions</a:t>
            </a:r>
          </a:p>
          <a:p>
            <a:pPr marL="744538" lvl="1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endParaRPr lang="en-US" sz="2000" dirty="0" smtClean="0"/>
          </a:p>
        </p:txBody>
      </p:sp>
      <p:pic>
        <p:nvPicPr>
          <p:cNvPr id="8" name="Picture 4" descr="http://healthcaresupplypros.com/img/zoom/HCS4482high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764268" y="1870789"/>
            <a:ext cx="2079191" cy="2225435"/>
          </a:xfrm>
          <a:prstGeom prst="rect">
            <a:avLst/>
          </a:prstGeom>
          <a:noFill/>
        </p:spPr>
      </p:pic>
      <p:sp>
        <p:nvSpPr>
          <p:cNvPr id="11" name="TextBox 10"/>
          <p:cNvSpPr txBox="1"/>
          <p:nvPr/>
        </p:nvSpPr>
        <p:spPr>
          <a:xfrm>
            <a:off x="6220302" y="4122778"/>
            <a:ext cx="9381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smtClean="0"/>
              <a:t>Vix-One</a:t>
            </a:r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3693434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igh Efficiency Nebulizers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261256" y="1578682"/>
            <a:ext cx="4476999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u="sng" dirty="0" err="1" smtClean="0"/>
              <a:t>AeroEclipse</a:t>
            </a:r>
            <a:r>
              <a:rPr lang="en-US" u="sng" dirty="0" smtClean="0"/>
              <a:t> </a:t>
            </a:r>
          </a:p>
          <a:p>
            <a:pPr algn="ctr"/>
            <a:r>
              <a:rPr lang="en-US" u="sng" dirty="0" smtClean="0"/>
              <a:t>Breath Actuated Nebulizer (BAN)</a:t>
            </a:r>
          </a:p>
          <a:p>
            <a:pPr algn="ctr"/>
            <a:endParaRPr lang="en-US" dirty="0"/>
          </a:p>
          <a:p>
            <a:pPr algn="ctr"/>
            <a:endParaRPr lang="en-US" dirty="0" smtClean="0"/>
          </a:p>
          <a:p>
            <a:pPr algn="ctr"/>
            <a:endParaRPr lang="en-US" dirty="0" smtClean="0"/>
          </a:p>
          <a:p>
            <a:pPr algn="ctr"/>
            <a:endParaRPr lang="en-US" dirty="0"/>
          </a:p>
          <a:p>
            <a:pPr algn="ctr"/>
            <a:endParaRPr lang="en-US" dirty="0" smtClean="0"/>
          </a:p>
          <a:p>
            <a:pPr algn="ctr"/>
            <a:endParaRPr lang="en-US" dirty="0"/>
          </a:p>
          <a:p>
            <a:pPr algn="ctr"/>
            <a:endParaRPr lang="en-US" dirty="0" smtClean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 smtClean="0"/>
          </a:p>
        </p:txBody>
      </p:sp>
      <p:pic>
        <p:nvPicPr>
          <p:cNvPr id="6" name="Picture 2" descr="http://www.sse.gov.on.ca/medt/sourcefromontario/SiteCollectionImages/industryprofiles/medical_trudell_aeroEclipse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500672" y="2482263"/>
            <a:ext cx="1905719" cy="2972016"/>
          </a:xfrm>
          <a:prstGeom prst="rect">
            <a:avLst/>
          </a:prstGeom>
          <a:noFill/>
        </p:spPr>
      </p:pic>
      <p:sp>
        <p:nvSpPr>
          <p:cNvPr id="8" name="TextBox 7"/>
          <p:cNvSpPr txBox="1"/>
          <p:nvPr/>
        </p:nvSpPr>
        <p:spPr>
          <a:xfrm>
            <a:off x="5653839" y="1733054"/>
            <a:ext cx="37169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 dirty="0" err="1" smtClean="0"/>
              <a:t>AeroNeb</a:t>
            </a:r>
            <a:r>
              <a:rPr lang="en-US" u="sng" dirty="0" smtClean="0"/>
              <a:t> Nebulizer</a:t>
            </a:r>
            <a:endParaRPr lang="en-US" u="sng" dirty="0"/>
          </a:p>
        </p:txBody>
      </p:sp>
      <p:pic>
        <p:nvPicPr>
          <p:cNvPr id="7577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4692" y="2482262"/>
            <a:ext cx="3525209" cy="3016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72412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hu-HU" sz="4400" dirty="0" err="1" smtClean="0">
                <a:solidFill>
                  <a:srgbClr val="00B0F0"/>
                </a:solidFill>
              </a:rPr>
              <a:t>Aeroneb</a:t>
            </a:r>
            <a:r>
              <a:rPr lang="en-US" altLang="hu-HU" sz="4400" baseline="30000" dirty="0" smtClean="0">
                <a:solidFill>
                  <a:srgbClr val="00B0F0"/>
                </a:solidFill>
                <a:cs typeface="Arial" charset="0"/>
              </a:rPr>
              <a:t>®</a:t>
            </a:r>
            <a:endParaRPr lang="en-US" altLang="hu-HU" sz="4400" dirty="0" smtClean="0">
              <a:solidFill>
                <a:srgbClr val="00B0F0"/>
              </a:solidFill>
            </a:endParaRPr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342900" y="1371600"/>
            <a:ext cx="5067300" cy="4714875"/>
          </a:xfrm>
        </p:spPr>
        <p:txBody>
          <a:bodyPr/>
          <a:lstStyle/>
          <a:p>
            <a:pPr marL="0" indent="0" eaLnBrk="1" hangingPunct="1">
              <a:lnSpc>
                <a:spcPct val="140000"/>
              </a:lnSpc>
              <a:buNone/>
            </a:pPr>
            <a:r>
              <a:rPr lang="en-US" altLang="hu-HU" sz="2000" dirty="0" smtClean="0"/>
              <a:t>Advanced medication delivery</a:t>
            </a:r>
          </a:p>
          <a:p>
            <a:pPr lvl="1" eaLnBrk="1" hangingPunct="1">
              <a:lnSpc>
                <a:spcPct val="140000"/>
              </a:lnSpc>
              <a:buFontTx/>
              <a:buChar char="•"/>
            </a:pPr>
            <a:r>
              <a:rPr lang="en-US" altLang="hu-HU" sz="1800" dirty="0" smtClean="0"/>
              <a:t>Built </a:t>
            </a:r>
            <a:r>
              <a:rPr lang="en-US" altLang="hu-HU" sz="1800" dirty="0" err="1" smtClean="0"/>
              <a:t>intoventilator</a:t>
            </a:r>
            <a:endParaRPr lang="en-US" altLang="hu-HU" sz="1800" dirty="0" smtClean="0"/>
          </a:p>
          <a:p>
            <a:pPr lvl="1" eaLnBrk="1" hangingPunct="1">
              <a:lnSpc>
                <a:spcPct val="140000"/>
              </a:lnSpc>
              <a:buFontTx/>
              <a:buChar char="•"/>
            </a:pPr>
            <a:r>
              <a:rPr lang="en-US" altLang="hu-HU" sz="1800" dirty="0" smtClean="0"/>
              <a:t>Reusable &amp; </a:t>
            </a:r>
            <a:r>
              <a:rPr lang="en-US" altLang="hu-HU" sz="1800" dirty="0" err="1" smtClean="0"/>
              <a:t>autoclavable</a:t>
            </a:r>
            <a:endParaRPr lang="en-US" altLang="hu-HU" sz="1800" dirty="0" smtClean="0"/>
          </a:p>
          <a:p>
            <a:pPr lvl="1" eaLnBrk="1" hangingPunct="1">
              <a:lnSpc>
                <a:spcPct val="140000"/>
              </a:lnSpc>
              <a:buFontTx/>
              <a:buChar char="•"/>
            </a:pPr>
            <a:r>
              <a:rPr lang="en-US" altLang="hu-HU" sz="1800" dirty="0" smtClean="0"/>
              <a:t>Efficient delivery</a:t>
            </a:r>
          </a:p>
          <a:p>
            <a:pPr lvl="2" eaLnBrk="1" hangingPunct="1">
              <a:lnSpc>
                <a:spcPct val="140000"/>
              </a:lnSpc>
              <a:buFont typeface="Wingdings" pitchFamily="2" charset="2"/>
              <a:buChar char="Ø"/>
            </a:pPr>
            <a:r>
              <a:rPr lang="en-US" altLang="hu-HU" sz="1800" dirty="0" smtClean="0"/>
              <a:t>2.4 micron size (MMAD) </a:t>
            </a:r>
          </a:p>
          <a:p>
            <a:pPr lvl="2" eaLnBrk="1" hangingPunct="1">
              <a:lnSpc>
                <a:spcPct val="140000"/>
              </a:lnSpc>
              <a:buFont typeface="Wingdings" pitchFamily="2" charset="2"/>
              <a:buChar char="Ø"/>
            </a:pPr>
            <a:r>
              <a:rPr lang="en-US" altLang="hu-HU" sz="1800" dirty="0" smtClean="0"/>
              <a:t>&gt;80% drug less than 5 microns</a:t>
            </a:r>
          </a:p>
          <a:p>
            <a:pPr lvl="1" eaLnBrk="1" hangingPunct="1">
              <a:lnSpc>
                <a:spcPct val="140000"/>
              </a:lnSpc>
              <a:buFontTx/>
              <a:buChar char="•"/>
            </a:pPr>
            <a:r>
              <a:rPr lang="en-US" altLang="hu-HU" sz="1800" dirty="0" smtClean="0"/>
              <a:t>Connects directly into the ventilator</a:t>
            </a:r>
          </a:p>
          <a:p>
            <a:pPr lvl="1" eaLnBrk="1" hangingPunct="1">
              <a:lnSpc>
                <a:spcPct val="140000"/>
              </a:lnSpc>
              <a:buFontTx/>
              <a:buChar char="•"/>
            </a:pPr>
            <a:r>
              <a:rPr lang="en-US" altLang="hu-HU" sz="1800" dirty="0" smtClean="0"/>
              <a:t>Controlled via the ventilator</a:t>
            </a:r>
          </a:p>
          <a:p>
            <a:pPr lvl="2" eaLnBrk="1" hangingPunct="1">
              <a:lnSpc>
                <a:spcPct val="140000"/>
              </a:lnSpc>
              <a:buFont typeface="Wingdings" pitchFamily="2" charset="2"/>
              <a:buChar char="Ø"/>
            </a:pPr>
            <a:r>
              <a:rPr lang="en-US" altLang="hu-HU" sz="1800" dirty="0" smtClean="0"/>
              <a:t>Gas Module is turned off during nebulizer treatment</a:t>
            </a:r>
          </a:p>
        </p:txBody>
      </p:sp>
      <p:pic>
        <p:nvPicPr>
          <p:cNvPr id="22532" name="Picture 4" descr="aeronebpro_tubing_large"/>
          <p:cNvPicPr>
            <a:picLocks noGrp="1" noChangeAspect="1" noChangeArrowheads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86400" y="457200"/>
            <a:ext cx="3657600" cy="254793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22533" name="Picture 5" descr="G:\Marketing\PHOTOS\EV\Product\AB.98p017.ce0803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6288" y="3302000"/>
            <a:ext cx="3008312" cy="3408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7315200" y="1449388"/>
            <a:ext cx="2890982" cy="9144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smtClean="0"/>
              <a:t>Tidy up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2642781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698" name="Picture 2" descr="Solo System - Cabl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7100" y="2101850"/>
            <a:ext cx="4140200" cy="3694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700" name="Text Box 4"/>
          <p:cNvSpPr txBox="1">
            <a:spLocks noChangeArrowheads="1"/>
          </p:cNvSpPr>
          <p:nvPr/>
        </p:nvSpPr>
        <p:spPr bwMode="auto">
          <a:xfrm>
            <a:off x="439738" y="2365693"/>
            <a:ext cx="4572000" cy="25083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GE Inspira Pitch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GE Inspira Pitch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GE Inspira Pitch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GE Inspira Pitch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GE Inspira Pitch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GE Inspira Pitch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GE Inspira Pitch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GE Inspira Pitch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GE Inspira Pitch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IE" altLang="hu-HU" sz="2000" dirty="0">
                <a:solidFill>
                  <a:srgbClr val="000060"/>
                </a:solidFill>
                <a:latin typeface="+mj-lt"/>
              </a:rPr>
              <a:t>Product line extension of the </a:t>
            </a:r>
            <a:r>
              <a:rPr lang="en-IE" altLang="hu-HU" sz="2000" dirty="0" err="1">
                <a:solidFill>
                  <a:srgbClr val="000060"/>
                </a:solidFill>
                <a:latin typeface="+mj-lt"/>
              </a:rPr>
              <a:t>Aeroneb</a:t>
            </a:r>
            <a:r>
              <a:rPr lang="en-US" altLang="hu-HU" sz="2000" baseline="30000" dirty="0">
                <a:solidFill>
                  <a:srgbClr val="000060"/>
                </a:solidFill>
                <a:latin typeface="+mj-lt"/>
              </a:rPr>
              <a:t>®</a:t>
            </a:r>
            <a:r>
              <a:rPr lang="en-IE" altLang="hu-HU" sz="2000" dirty="0">
                <a:solidFill>
                  <a:srgbClr val="000060"/>
                </a:solidFill>
                <a:latin typeface="+mj-lt"/>
              </a:rPr>
              <a:t> Pro nebulizer</a:t>
            </a:r>
          </a:p>
          <a:p>
            <a:pPr>
              <a:spcBef>
                <a:spcPct val="50000"/>
              </a:spcBef>
            </a:pPr>
            <a:r>
              <a:rPr lang="en-IE" altLang="hu-HU" sz="2000" dirty="0" smtClean="0">
                <a:solidFill>
                  <a:srgbClr val="000060"/>
                </a:solidFill>
                <a:latin typeface="+mj-lt"/>
              </a:rPr>
              <a:t>Provides </a:t>
            </a:r>
            <a:r>
              <a:rPr lang="en-IE" altLang="hu-HU" sz="2000" dirty="0">
                <a:solidFill>
                  <a:srgbClr val="000060"/>
                </a:solidFill>
                <a:latin typeface="+mj-lt"/>
              </a:rPr>
              <a:t>the user with the choice of a disposable or reusable product – therefore </a:t>
            </a:r>
            <a:r>
              <a:rPr lang="en-IE" altLang="hu-HU" sz="2000" dirty="0" smtClean="0">
                <a:solidFill>
                  <a:srgbClr val="000060"/>
                </a:solidFill>
                <a:latin typeface="+mj-lt"/>
              </a:rPr>
              <a:t>does </a:t>
            </a:r>
            <a:r>
              <a:rPr lang="en-IE" altLang="hu-HU" sz="2000" dirty="0">
                <a:solidFill>
                  <a:srgbClr val="000060"/>
                </a:solidFill>
                <a:latin typeface="+mj-lt"/>
              </a:rPr>
              <a:t>not replace the </a:t>
            </a:r>
            <a:r>
              <a:rPr lang="en-IE" altLang="hu-HU" sz="2000" dirty="0" err="1">
                <a:solidFill>
                  <a:srgbClr val="000060"/>
                </a:solidFill>
                <a:latin typeface="+mj-lt"/>
              </a:rPr>
              <a:t>Aeroneb</a:t>
            </a:r>
            <a:r>
              <a:rPr lang="en-US" altLang="hu-HU" sz="1600" baseline="30000" dirty="0">
                <a:solidFill>
                  <a:srgbClr val="000060"/>
                </a:solidFill>
                <a:latin typeface="+mj-lt"/>
              </a:rPr>
              <a:t>®</a:t>
            </a:r>
            <a:r>
              <a:rPr lang="en-IE" altLang="hu-HU" sz="2000" baseline="30000" dirty="0">
                <a:solidFill>
                  <a:srgbClr val="000060"/>
                </a:solidFill>
                <a:latin typeface="+mj-lt"/>
              </a:rPr>
              <a:t> </a:t>
            </a:r>
            <a:r>
              <a:rPr lang="en-IE" altLang="hu-HU" sz="2000" dirty="0">
                <a:solidFill>
                  <a:srgbClr val="000060"/>
                </a:solidFill>
                <a:latin typeface="+mj-lt"/>
              </a:rPr>
              <a:t>Pro</a:t>
            </a:r>
          </a:p>
          <a:p>
            <a:pPr>
              <a:spcBef>
                <a:spcPct val="50000"/>
              </a:spcBef>
              <a:buFontTx/>
              <a:buChar char="•"/>
            </a:pPr>
            <a:endParaRPr lang="en-US" altLang="hu-HU" sz="1800" dirty="0">
              <a:solidFill>
                <a:srgbClr val="000060"/>
              </a:solidFill>
              <a:latin typeface="+mj-lt"/>
            </a:endParaRPr>
          </a:p>
        </p:txBody>
      </p:sp>
      <p:pic>
        <p:nvPicPr>
          <p:cNvPr id="29701" name="Picture 5" descr="aeroneb_solo_logo_des#A861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738" y="782638"/>
            <a:ext cx="4086225" cy="1284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458202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Small Volume Nebulizer - Competition</a:t>
            </a: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487680" y="1200109"/>
            <a:ext cx="7202384" cy="5003841"/>
          </a:xfrm>
          <a:prstGeom prst="rect">
            <a:avLst/>
          </a:prstGeom>
        </p:spPr>
        <p:txBody>
          <a:bodyPr/>
          <a:lstStyle/>
          <a:p>
            <a:pPr marL="287338" lvl="0" indent="-287338">
              <a:spcBef>
                <a:spcPct val="20000"/>
              </a:spcBef>
              <a:defRPr/>
            </a:pPr>
            <a:r>
              <a:rPr lang="en-US" sz="2000" b="1" dirty="0" err="1">
                <a:solidFill>
                  <a:srgbClr val="3B6E8F"/>
                </a:solidFill>
              </a:rPr>
              <a:t>AeroEclipse</a:t>
            </a:r>
            <a:r>
              <a:rPr lang="en-US" sz="2000" b="1" dirty="0">
                <a:solidFill>
                  <a:srgbClr val="3B6E8F"/>
                </a:solidFill>
              </a:rPr>
              <a:t> (</a:t>
            </a:r>
            <a:r>
              <a:rPr lang="en-US" sz="2000" b="1" dirty="0" smtClean="0">
                <a:solidFill>
                  <a:srgbClr val="3B6E8F"/>
                </a:solidFill>
              </a:rPr>
              <a:t>Monaghan)</a:t>
            </a:r>
          </a:p>
          <a:p>
            <a:pPr marL="287338" lvl="0" indent="-287338">
              <a:spcBef>
                <a:spcPct val="20000"/>
              </a:spcBef>
              <a:defRPr/>
            </a:pPr>
            <a:endParaRPr lang="en-US" sz="2000" b="1" baseline="0" dirty="0">
              <a:solidFill>
                <a:srgbClr val="3B6E8F"/>
              </a:solidFill>
            </a:endParaRPr>
          </a:p>
          <a:p>
            <a:pPr marL="287338" lvl="0" indent="-287338">
              <a:spcBef>
                <a:spcPct val="20000"/>
              </a:spcBef>
              <a:defRPr/>
            </a:pPr>
            <a:r>
              <a:rPr lang="en-US" sz="2000" baseline="0" dirty="0" smtClean="0"/>
              <a:t>Breath-Actuated Technology</a:t>
            </a:r>
          </a:p>
          <a:p>
            <a:pPr marL="1201738" lvl="2" indent="-287338">
              <a:spcBef>
                <a:spcPts val="600"/>
              </a:spcBef>
              <a:buFont typeface="Arial" pitchFamily="34" charset="0"/>
              <a:buChar char="•"/>
              <a:defRPr/>
            </a:pPr>
            <a:r>
              <a:rPr lang="en-US" sz="2000" dirty="0" smtClean="0"/>
              <a:t>Nebulizes only during inspiration</a:t>
            </a:r>
          </a:p>
          <a:p>
            <a:pPr marL="1201738" lvl="2" indent="-287338">
              <a:spcBef>
                <a:spcPts val="600"/>
              </a:spcBef>
              <a:buFont typeface="Arial" pitchFamily="34" charset="0"/>
              <a:buChar char="•"/>
              <a:defRPr/>
            </a:pPr>
            <a:r>
              <a:rPr lang="en-US" sz="2000" dirty="0" smtClean="0"/>
              <a:t>Patient receives more medication</a:t>
            </a:r>
          </a:p>
          <a:p>
            <a:pPr marL="1201738" lvl="2" indent="-287338">
              <a:spcBef>
                <a:spcPts val="600"/>
              </a:spcBef>
              <a:buFont typeface="Arial" pitchFamily="34" charset="0"/>
              <a:buChar char="•"/>
              <a:defRPr/>
            </a:pPr>
            <a:r>
              <a:rPr lang="en-US" sz="2000" baseline="0" dirty="0" smtClean="0"/>
              <a:t>Reduces caregiver exposure</a:t>
            </a:r>
          </a:p>
          <a:p>
            <a:pPr marL="1201738" lvl="2" indent="-287338">
              <a:spcBef>
                <a:spcPts val="600"/>
              </a:spcBef>
              <a:buFont typeface="Arial" pitchFamily="34" charset="0"/>
              <a:buChar char="•"/>
              <a:defRPr/>
            </a:pPr>
            <a:r>
              <a:rPr lang="en-US" sz="2000" dirty="0" smtClean="0"/>
              <a:t>Lengthens treatment time (same dose)</a:t>
            </a:r>
          </a:p>
          <a:p>
            <a:pPr marL="0" lvl="2">
              <a:spcBef>
                <a:spcPts val="600"/>
              </a:spcBef>
              <a:defRPr/>
            </a:pPr>
            <a:endParaRPr lang="en-US" sz="2000" dirty="0" smtClean="0"/>
          </a:p>
          <a:p>
            <a:pPr marL="0" lvl="2">
              <a:spcBef>
                <a:spcPts val="600"/>
              </a:spcBef>
              <a:defRPr/>
            </a:pPr>
            <a:r>
              <a:rPr lang="en-US" sz="2000" dirty="0" smtClean="0"/>
              <a:t>Expensive = $5.00 ASP (US)  vs. $0.80 – $1.20 SVN</a:t>
            </a:r>
          </a:p>
          <a:p>
            <a:pPr marL="0" lvl="2">
              <a:spcBef>
                <a:spcPts val="600"/>
              </a:spcBef>
              <a:defRPr/>
            </a:pPr>
            <a:endParaRPr lang="en-US" sz="2000" baseline="0" dirty="0" smtClean="0"/>
          </a:p>
          <a:p>
            <a:pPr marL="0" lvl="2">
              <a:spcBef>
                <a:spcPts val="600"/>
              </a:spcBef>
              <a:defRPr/>
            </a:pPr>
            <a:r>
              <a:rPr lang="en-US" sz="2000" baseline="0" dirty="0" smtClean="0"/>
              <a:t>Has two modes: “BAN” &amp; “Continuous”</a:t>
            </a:r>
          </a:p>
          <a:p>
            <a:pPr marL="1257300" lvl="4" indent="-3429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sz="2000" dirty="0" smtClean="0"/>
              <a:t>Use with mask = continuous mode only</a:t>
            </a:r>
            <a:endParaRPr lang="en-US" sz="2000" baseline="0" dirty="0" smtClean="0"/>
          </a:p>
        </p:txBody>
      </p:sp>
      <p:pic>
        <p:nvPicPr>
          <p:cNvPr id="58370" name="Picture 2" descr="http://www.sse.gov.on.ca/medt/sourcefromontario/SiteCollectionImages/industryprofiles/medical_trudell_aeroEclipse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990620" y="1076325"/>
            <a:ext cx="1604284" cy="2501920"/>
          </a:xfrm>
          <a:prstGeom prst="rect">
            <a:avLst/>
          </a:prstGeom>
          <a:noFill/>
        </p:spPr>
      </p:pic>
      <p:pic>
        <p:nvPicPr>
          <p:cNvPr id="58372" name="Picture 4" descr="AeroEclipse II BAN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01688" y="3802640"/>
            <a:ext cx="1905000" cy="179070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51513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621833" y="4235838"/>
            <a:ext cx="8029801" cy="160316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b="1" kern="1200">
                <a:solidFill>
                  <a:srgbClr val="242852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US" dirty="0" smtClean="0">
                <a:solidFill>
                  <a:schemeClr val="accent1">
                    <a:lumMod val="20000"/>
                    <a:lumOff val="80000"/>
                  </a:schemeClr>
                </a:solidFill>
              </a:rPr>
              <a:t>Volume Incentive Spirometers (VIS)</a:t>
            </a:r>
            <a:endParaRPr lang="en-US" dirty="0">
              <a:solidFill>
                <a:schemeClr val="accent1">
                  <a:lumMod val="20000"/>
                  <a:lumOff val="8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748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en-US" sz="2800" dirty="0" smtClean="0"/>
              <a:t>Lung Management Products</a:t>
            </a:r>
            <a:endParaRPr lang="en-US" sz="2800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457200" y="1076327"/>
            <a:ext cx="8229600" cy="4752975"/>
          </a:xfrm>
          <a:prstGeom prst="rect">
            <a:avLst/>
          </a:prstGeom>
        </p:spPr>
        <p:txBody>
          <a:bodyPr/>
          <a:lstStyle/>
          <a:p>
            <a:pPr marL="287338" lvl="0" indent="-287338">
              <a:spcBef>
                <a:spcPct val="20000"/>
              </a:spcBef>
              <a:defRPr/>
            </a:pPr>
            <a:r>
              <a:rPr lang="en-US" sz="2000" b="1" dirty="0" smtClean="0">
                <a:solidFill>
                  <a:srgbClr val="3B6E8F"/>
                </a:solidFill>
              </a:rPr>
              <a:t>Vyaire Incentive Spirometers</a:t>
            </a:r>
          </a:p>
          <a:p>
            <a:pPr marL="3175" indent="-3175">
              <a:spcBef>
                <a:spcPts val="600"/>
              </a:spcBef>
              <a:defRPr/>
            </a:pPr>
            <a:r>
              <a:rPr lang="en-US" dirty="0" smtClean="0"/>
              <a:t>An incentive </a:t>
            </a:r>
            <a:r>
              <a:rPr lang="en-US" dirty="0" err="1" smtClean="0"/>
              <a:t>spirometer</a:t>
            </a:r>
            <a:r>
              <a:rPr lang="en-US" dirty="0" smtClean="0"/>
              <a:t> is used to examine the health of your lungs by measuring inspiratory volume. This means that an incentive </a:t>
            </a:r>
            <a:r>
              <a:rPr lang="en-US" dirty="0" err="1" smtClean="0"/>
              <a:t>spirometer</a:t>
            </a:r>
            <a:r>
              <a:rPr lang="en-US" dirty="0" smtClean="0"/>
              <a:t> measures how well you are filling your lungs with each breath</a:t>
            </a:r>
            <a:r>
              <a:rPr lang="en-US" sz="2000" dirty="0" smtClean="0"/>
              <a:t>.</a:t>
            </a:r>
          </a:p>
          <a:p>
            <a:pPr marL="287338" lvl="0" indent="-287338">
              <a:spcBef>
                <a:spcPct val="20000"/>
              </a:spcBef>
              <a:defRPr/>
            </a:pPr>
            <a:endParaRPr lang="en-US" sz="2000" b="1" dirty="0" smtClean="0">
              <a:solidFill>
                <a:srgbClr val="3B6E8F"/>
              </a:solidFill>
            </a:endParaRPr>
          </a:p>
        </p:txBody>
      </p:sp>
      <p:pic>
        <p:nvPicPr>
          <p:cNvPr id="5" name="Picture 4" descr="RC_001900_1110_0001.jpg"/>
          <p:cNvPicPr>
            <a:picLocks noChangeAspect="1"/>
          </p:cNvPicPr>
          <p:nvPr/>
        </p:nvPicPr>
        <p:blipFill>
          <a:blip r:embed="rId2" cstate="print"/>
          <a:srcRect l="20178" r="16202" b="18868"/>
          <a:stretch>
            <a:fillRect/>
          </a:stretch>
        </p:blipFill>
        <p:spPr>
          <a:xfrm>
            <a:off x="5331583" y="3060733"/>
            <a:ext cx="1769258" cy="2743200"/>
          </a:xfrm>
          <a:prstGeom prst="rect">
            <a:avLst/>
          </a:prstGeom>
        </p:spPr>
      </p:pic>
      <p:pic>
        <p:nvPicPr>
          <p:cNvPr id="6" name="Picture 5" descr="001901A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431134" y="3060733"/>
            <a:ext cx="2037806" cy="2743200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1576672" y="5740038"/>
            <a:ext cx="174673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/>
              <a:t>001902A</a:t>
            </a:r>
            <a:endParaRPr lang="en-US" sz="1200" dirty="0"/>
          </a:p>
        </p:txBody>
      </p:sp>
      <p:sp>
        <p:nvSpPr>
          <p:cNvPr id="11" name="TextBox 10"/>
          <p:cNvSpPr txBox="1"/>
          <p:nvPr/>
        </p:nvSpPr>
        <p:spPr>
          <a:xfrm>
            <a:off x="5610687" y="5726243"/>
            <a:ext cx="12110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/>
              <a:t>001900</a:t>
            </a:r>
            <a:endParaRPr lang="en-US" sz="1200" dirty="0"/>
          </a:p>
        </p:txBody>
      </p:sp>
      <p:sp>
        <p:nvSpPr>
          <p:cNvPr id="12" name="TextBox 11"/>
          <p:cNvSpPr txBox="1"/>
          <p:nvPr/>
        </p:nvSpPr>
        <p:spPr>
          <a:xfrm>
            <a:off x="1376048" y="2535884"/>
            <a:ext cx="214797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/>
              <a:t>Volumetric Incentive Spirometer</a:t>
            </a:r>
            <a:endParaRPr lang="en-US" sz="1400" dirty="0"/>
          </a:p>
        </p:txBody>
      </p:sp>
      <p:sp>
        <p:nvSpPr>
          <p:cNvPr id="13" name="TextBox 12"/>
          <p:cNvSpPr txBox="1"/>
          <p:nvPr/>
        </p:nvSpPr>
        <p:spPr>
          <a:xfrm>
            <a:off x="4689337" y="2517274"/>
            <a:ext cx="305375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err="1" smtClean="0"/>
              <a:t>Air</a:t>
            </a:r>
            <a:r>
              <a:rPr lang="en-US" sz="2000" baseline="-25000" dirty="0" err="1" smtClean="0"/>
              <a:t>x</a:t>
            </a:r>
            <a:r>
              <a:rPr lang="en-US" sz="1400" dirty="0" smtClean="0"/>
              <a:t> Flow</a:t>
            </a:r>
          </a:p>
          <a:p>
            <a:pPr algn="ctr"/>
            <a:r>
              <a:rPr lang="en-US" sz="1400" dirty="0" smtClean="0"/>
              <a:t> Incentive </a:t>
            </a:r>
            <a:r>
              <a:rPr lang="en-US" sz="1400" dirty="0" err="1" smtClean="0"/>
              <a:t>Spirometer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569077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6888" y="346255"/>
            <a:ext cx="7101440" cy="1143000"/>
          </a:xfrm>
        </p:spPr>
        <p:txBody>
          <a:bodyPr anchor="t">
            <a:normAutofit/>
          </a:bodyPr>
          <a:lstStyle/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Why would somebody need medication delivered via nebulizer?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373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4979" y="1489255"/>
            <a:ext cx="6370939" cy="43456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77141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 smtClean="0"/>
              <a:t>Lung Management Products</a:t>
            </a:r>
            <a:endParaRPr lang="en-US" sz="2800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457200" y="1076327"/>
            <a:ext cx="7202384" cy="5003841"/>
          </a:xfrm>
          <a:prstGeom prst="rect">
            <a:avLst/>
          </a:prstGeom>
        </p:spPr>
        <p:txBody>
          <a:bodyPr/>
          <a:lstStyle/>
          <a:p>
            <a:pPr marL="287338" marR="0" lvl="0" indent="-28733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B6E8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Vyaire Incentive Spirometers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000" baseline="0" dirty="0" smtClean="0"/>
          </a:p>
          <a:p>
            <a:pPr marL="287338" marR="0" lvl="0" indent="-28733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2000" baseline="0" dirty="0" smtClean="0"/>
              <a:t>Incentive Spirometer Options</a:t>
            </a:r>
          </a:p>
          <a:p>
            <a:pPr marL="744538" lvl="1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2000" dirty="0" smtClean="0"/>
              <a:t>Flow (4%) &amp; Volume (96%)</a:t>
            </a:r>
          </a:p>
          <a:p>
            <a:pPr marL="744538" lvl="1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2000" dirty="0" smtClean="0"/>
              <a:t>One-way valve and w/o</a:t>
            </a:r>
            <a:r>
              <a:rPr lang="en-US" sz="2000" baseline="0" dirty="0" smtClean="0"/>
              <a:t> one-way valve (82%)</a:t>
            </a:r>
          </a:p>
          <a:p>
            <a:pPr marL="744538" lvl="1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2000" baseline="0" dirty="0" smtClean="0"/>
              <a:t>Pediatric w/ colorful targets</a:t>
            </a:r>
          </a:p>
        </p:txBody>
      </p:sp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9137043"/>
              </p:ext>
            </p:extLst>
          </p:nvPr>
        </p:nvGraphicFramePr>
        <p:xfrm>
          <a:off x="866571" y="4065320"/>
          <a:ext cx="7588333" cy="12818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58537"/>
                <a:gridCol w="5101699"/>
                <a:gridCol w="1028097"/>
              </a:tblGrid>
              <a:tr h="321756">
                <a:tc>
                  <a:txBody>
                    <a:bodyPr/>
                    <a:lstStyle/>
                    <a:p>
                      <a:r>
                        <a:rPr lang="en-US" sz="1500" dirty="0" smtClean="0"/>
                        <a:t>P/N</a:t>
                      </a:r>
                      <a:endParaRPr lang="en-US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500" smtClean="0"/>
                        <a:t>Description</a:t>
                      </a:r>
                      <a:endParaRPr lang="en-US" sz="15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500" smtClean="0"/>
                        <a:t>Pckg</a:t>
                      </a:r>
                      <a:endParaRPr lang="en-US" sz="1500"/>
                    </a:p>
                  </a:txBody>
                  <a:tcPr/>
                </a:tc>
              </a:tr>
              <a:tr h="320040">
                <a:tc>
                  <a:txBody>
                    <a:bodyPr/>
                    <a:lstStyle/>
                    <a:p>
                      <a:r>
                        <a:rPr lang="en-US" sz="1500" smtClean="0"/>
                        <a:t>001900</a:t>
                      </a:r>
                      <a:endParaRPr lang="en-US" sz="15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500" dirty="0" err="1" smtClean="0"/>
                        <a:t>AirLife</a:t>
                      </a:r>
                      <a:r>
                        <a:rPr lang="en-US" sz="1500" dirty="0" smtClean="0"/>
                        <a:t> Air-X Flow IS</a:t>
                      </a:r>
                      <a:endParaRPr lang="en-US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500" smtClean="0"/>
                        <a:t>20/case</a:t>
                      </a:r>
                      <a:endParaRPr lang="en-US" sz="1500"/>
                    </a:p>
                  </a:txBody>
                  <a:tcPr/>
                </a:tc>
              </a:tr>
              <a:tr h="320040">
                <a:tc>
                  <a:txBody>
                    <a:bodyPr/>
                    <a:lstStyle/>
                    <a:p>
                      <a:r>
                        <a:rPr lang="en-US" sz="1500" dirty="0" smtClean="0"/>
                        <a:t>001902A</a:t>
                      </a:r>
                      <a:endParaRPr lang="en-US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smtClean="0"/>
                        <a:t>AirLife Volume IS, 4000 m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 smtClean="0"/>
                        <a:t>12/case</a:t>
                      </a:r>
                    </a:p>
                  </a:txBody>
                  <a:tcPr/>
                </a:tc>
              </a:tr>
              <a:tr h="320040">
                <a:tc>
                  <a:txBody>
                    <a:bodyPr/>
                    <a:lstStyle/>
                    <a:p>
                      <a:r>
                        <a:rPr lang="en-US" sz="1500" dirty="0" smtClean="0"/>
                        <a:t>001904A</a:t>
                      </a:r>
                      <a:endParaRPr lang="en-US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smtClean="0"/>
                        <a:t>AirLife Volume IS, 2500 m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 smtClean="0"/>
                        <a:t>12/case</a:t>
                      </a: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2" name="Picture 11" descr="001901A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736776" y="990489"/>
            <a:ext cx="950027" cy="1278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1067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 smtClean="0"/>
              <a:t>Lung Management Products</a:t>
            </a:r>
            <a:endParaRPr lang="en-US" sz="2800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457200" y="1076327"/>
            <a:ext cx="8229600" cy="4752975"/>
          </a:xfrm>
          <a:prstGeom prst="rect">
            <a:avLst/>
          </a:prstGeom>
        </p:spPr>
        <p:txBody>
          <a:bodyPr/>
          <a:lstStyle/>
          <a:p>
            <a:pPr marL="287338" lvl="0" indent="-287338">
              <a:spcBef>
                <a:spcPct val="20000"/>
              </a:spcBef>
              <a:defRPr/>
            </a:pPr>
            <a:r>
              <a:rPr lang="en-US" sz="2400" b="1" dirty="0" smtClean="0">
                <a:solidFill>
                  <a:srgbClr val="3B6E8F"/>
                </a:solidFill>
              </a:rPr>
              <a:t>Incentive Spirometer – Competition</a:t>
            </a:r>
          </a:p>
          <a:p>
            <a:pPr marL="287338" lvl="0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2400" dirty="0" err="1" smtClean="0"/>
              <a:t>Voldyne</a:t>
            </a:r>
            <a:r>
              <a:rPr lang="en-US" sz="2400" dirty="0" smtClean="0"/>
              <a:t> (Teleflex)</a:t>
            </a:r>
          </a:p>
          <a:p>
            <a:pPr marL="744538" lvl="1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2400" dirty="0" smtClean="0"/>
              <a:t>Options: 5000 mL, 2500 mL and Ped 2500 mL</a:t>
            </a:r>
          </a:p>
          <a:p>
            <a:pPr marL="744538" lvl="1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2400" dirty="0" smtClean="0"/>
              <a:t>Does not include one-way valve</a:t>
            </a:r>
          </a:p>
          <a:p>
            <a:pPr marL="744538" lvl="1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endParaRPr lang="en-US" sz="2400" dirty="0" smtClean="0"/>
          </a:p>
          <a:p>
            <a:pPr marL="287338" lvl="0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endParaRPr lang="en-US" sz="2400" dirty="0" smtClean="0"/>
          </a:p>
          <a:p>
            <a:pPr marL="287338" lvl="0" indent="-287338">
              <a:spcBef>
                <a:spcPct val="20000"/>
              </a:spcBef>
              <a:defRPr/>
            </a:pPr>
            <a:endParaRPr lang="en-US" sz="2400" dirty="0" smtClean="0"/>
          </a:p>
        </p:txBody>
      </p:sp>
      <p:pic>
        <p:nvPicPr>
          <p:cNvPr id="15364" name="Picture 4" descr="Pediatric Voldyn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58912" y="3094965"/>
            <a:ext cx="3415533" cy="2653609"/>
          </a:xfrm>
          <a:prstGeom prst="rect">
            <a:avLst/>
          </a:prstGeom>
          <a:noFill/>
        </p:spPr>
      </p:pic>
      <p:pic>
        <p:nvPicPr>
          <p:cNvPr id="15362" name="Picture 2" descr="http://www.teleflex.com/en/usa/images/hudson/8884719009_voldyne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90962" y="3157313"/>
            <a:ext cx="2856816" cy="234039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2492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 smtClean="0"/>
              <a:t>Lung Management Products</a:t>
            </a:r>
            <a:endParaRPr lang="en-US" sz="2800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457200" y="1076327"/>
            <a:ext cx="8229600" cy="4752975"/>
          </a:xfrm>
          <a:prstGeom prst="rect">
            <a:avLst/>
          </a:prstGeom>
        </p:spPr>
        <p:txBody>
          <a:bodyPr/>
          <a:lstStyle/>
          <a:p>
            <a:pPr marL="287338" lvl="0" indent="-287338">
              <a:spcBef>
                <a:spcPct val="20000"/>
              </a:spcBef>
              <a:defRPr/>
            </a:pPr>
            <a:r>
              <a:rPr lang="en-US" sz="2400" b="1" dirty="0" smtClean="0">
                <a:solidFill>
                  <a:srgbClr val="3B6E8F"/>
                </a:solidFill>
              </a:rPr>
              <a:t>Incentive Spirometer – Competition</a:t>
            </a:r>
          </a:p>
          <a:p>
            <a:pPr marL="287338" lvl="0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2400" dirty="0" smtClean="0"/>
              <a:t>Coach 2/</a:t>
            </a:r>
            <a:r>
              <a:rPr lang="en-US" sz="2400" dirty="0" err="1" smtClean="0"/>
              <a:t>CliniFLO</a:t>
            </a:r>
            <a:r>
              <a:rPr lang="en-US" sz="2400" dirty="0" smtClean="0"/>
              <a:t> (Smith’s Medical)</a:t>
            </a:r>
          </a:p>
          <a:p>
            <a:pPr marL="744538" lvl="1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2400" dirty="0" smtClean="0"/>
              <a:t>Offer both with and w/o one-way valve</a:t>
            </a:r>
          </a:p>
          <a:p>
            <a:pPr marL="744538" lvl="1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2400" dirty="0" smtClean="0"/>
              <a:t>O2 connection for supplemental oxygen </a:t>
            </a:r>
            <a:r>
              <a:rPr lang="en-US" sz="2400" dirty="0" err="1" smtClean="0"/>
              <a:t>deliv</a:t>
            </a:r>
            <a:endParaRPr lang="en-US" sz="2400" dirty="0" smtClean="0"/>
          </a:p>
          <a:p>
            <a:pPr marL="744538" lvl="1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2400" dirty="0" err="1" smtClean="0"/>
              <a:t>CliniFlo</a:t>
            </a:r>
            <a:r>
              <a:rPr lang="en-US" sz="2400" dirty="0" smtClean="0"/>
              <a:t> for low flow applications</a:t>
            </a:r>
          </a:p>
          <a:p>
            <a:pPr marL="287338" lvl="0" indent="-287338">
              <a:spcBef>
                <a:spcPct val="20000"/>
              </a:spcBef>
              <a:buFont typeface="Arial" pitchFamily="34" charset="0"/>
              <a:buChar char="•"/>
              <a:defRPr/>
            </a:pPr>
            <a:endParaRPr lang="en-US" sz="2400" dirty="0" smtClean="0"/>
          </a:p>
          <a:p>
            <a:pPr marL="287338" lvl="0" indent="-287338">
              <a:spcBef>
                <a:spcPct val="20000"/>
              </a:spcBef>
              <a:defRPr/>
            </a:pPr>
            <a:endParaRPr lang="en-US" sz="2400" dirty="0" smtClean="0"/>
          </a:p>
        </p:txBody>
      </p:sp>
      <p:pic>
        <p:nvPicPr>
          <p:cNvPr id="7" name="Picture 6" descr="http://www.smiths-medical.com/upload/products/mainImages/CLINIflo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031627" y="3131318"/>
            <a:ext cx="2477088" cy="228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8"/>
          <p:cNvSpPr txBox="1"/>
          <p:nvPr/>
        </p:nvSpPr>
        <p:spPr>
          <a:xfrm>
            <a:off x="5195529" y="5477620"/>
            <a:ext cx="23131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Smith’s </a:t>
            </a:r>
            <a:r>
              <a:rPr lang="en-US" sz="1600" dirty="0" err="1" smtClean="0"/>
              <a:t>CliniFLO</a:t>
            </a:r>
            <a:r>
              <a:rPr lang="en-US" sz="1600" dirty="0" smtClean="0"/>
              <a:t> IS</a:t>
            </a:r>
            <a:endParaRPr lang="en-US" sz="1600" dirty="0"/>
          </a:p>
        </p:txBody>
      </p:sp>
      <p:pic>
        <p:nvPicPr>
          <p:cNvPr id="12" name="Picture 11" descr="http://www.medline.com/media/catalog/CA05/CA05_03/CA05_03_10/CA05_03_10-PF01613-Incentive-Spirometers/DHD224000_D00001_HRE_1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063088" y="3241273"/>
            <a:ext cx="1684782" cy="2514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extBox 12"/>
          <p:cNvSpPr txBox="1"/>
          <p:nvPr/>
        </p:nvSpPr>
        <p:spPr>
          <a:xfrm>
            <a:off x="2063088" y="5477620"/>
            <a:ext cx="21261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Smith’s Coach 2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535168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uestions</a:t>
            </a:r>
            <a:endParaRPr lang="en-US" dirty="0"/>
          </a:p>
        </p:txBody>
      </p:sp>
      <p:sp>
        <p:nvSpPr>
          <p:cNvPr id="2" name="TextBox 1"/>
          <p:cNvSpPr txBox="1"/>
          <p:nvPr/>
        </p:nvSpPr>
        <p:spPr>
          <a:xfrm>
            <a:off x="1676400" y="1127760"/>
            <a:ext cx="524256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7200" dirty="0" smtClean="0"/>
              <a:t>Thank you!</a:t>
            </a:r>
            <a:endParaRPr lang="en-GB" sz="7200" dirty="0"/>
          </a:p>
        </p:txBody>
      </p:sp>
    </p:spTree>
    <p:extLst>
      <p:ext uri="{BB962C8B-B14F-4D97-AF65-F5344CB8AC3E}">
        <p14:creationId xmlns:p14="http://schemas.microsoft.com/office/powerpoint/2010/main" val="64907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How does a nebulizer work?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457200" y="1076327"/>
            <a:ext cx="8229600" cy="4752975"/>
          </a:xfrm>
          <a:prstGeom prst="rect">
            <a:avLst/>
          </a:prstGeom>
        </p:spPr>
        <p:txBody>
          <a:bodyPr/>
          <a:lstStyle/>
          <a:p>
            <a:pPr marL="342900" indent="-342900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Uses oxygen, compressed air or ultrasonic power to break up medical solutions/suspensions into small aerosol droplets that can be inhaled directly from the device.</a:t>
            </a:r>
          </a:p>
          <a:p>
            <a:pPr marL="342900" indent="-342900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endParaRPr lang="en-US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Particle size is important too</a:t>
            </a:r>
          </a:p>
          <a:p>
            <a:pPr marL="800100" lvl="1" indent="-342900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Desired range is between 1 and 5 microns</a:t>
            </a:r>
            <a:endParaRPr lang="en-US" b="1" dirty="0" smtClean="0">
              <a:solidFill>
                <a:srgbClr val="3B6E8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4034871" y="4378517"/>
            <a:ext cx="4233554" cy="1114856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cron	= micrometer</a:t>
            </a:r>
          </a:p>
          <a:p>
            <a:r>
              <a:rPr lang="en-US" sz="14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en-US" sz="1400" i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= </a:t>
            </a:r>
            <a:r>
              <a:rPr lang="en-US" sz="14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e-millionth of a meter</a:t>
            </a:r>
          </a:p>
          <a:p>
            <a:r>
              <a:rPr lang="en-US" sz="14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en-US" sz="1400" i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= </a:t>
            </a:r>
            <a:r>
              <a:rPr lang="en-US" sz="14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e-thousandth of a millimeter</a:t>
            </a:r>
          </a:p>
          <a:p>
            <a:r>
              <a:rPr lang="en-US" sz="14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en-US" sz="1400" i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= </a:t>
            </a:r>
            <a:r>
              <a:rPr lang="en-US" sz="14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.001 mm or .000039 in</a:t>
            </a:r>
          </a:p>
        </p:txBody>
      </p:sp>
      <p:pic>
        <p:nvPicPr>
          <p:cNvPr id="7" name="Picture 2" descr="https://www.tradelineinc.com/sites/default/files/styles/popup/public/article/75412/MicronSize.gif?itok=GvGp0Pya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928"/>
          <a:stretch/>
        </p:blipFill>
        <p:spPr bwMode="auto">
          <a:xfrm>
            <a:off x="1002116" y="2991829"/>
            <a:ext cx="2898976" cy="28374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01730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en-GB" dirty="0" smtClean="0">
                <a:latin typeface="Arial" panose="020B0604020202020204" pitchFamily="34" charset="0"/>
                <a:cs typeface="Arial" panose="020B0604020202020204" pitchFamily="34" charset="0"/>
              </a:rPr>
              <a:t>A Word on Particle Size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4754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64" t="4056" r="13175" b="14163"/>
          <a:stretch/>
        </p:blipFill>
        <p:spPr bwMode="auto">
          <a:xfrm>
            <a:off x="5679558" y="959032"/>
            <a:ext cx="2863748" cy="48112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Left Brace 6"/>
          <p:cNvSpPr/>
          <p:nvPr/>
        </p:nvSpPr>
        <p:spPr>
          <a:xfrm>
            <a:off x="2961816" y="1772608"/>
            <a:ext cx="391886" cy="1341911"/>
          </a:xfrm>
          <a:prstGeom prst="leftBrace">
            <a:avLst/>
          </a:prstGeom>
          <a:ln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74866" y="1926987"/>
            <a:ext cx="238694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&gt; 5</a:t>
            </a:r>
            <a:r>
              <a:rPr lang="el-GR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μ</a:t>
            </a:r>
            <a:r>
              <a:rPr lang="en-GB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m impaction</a:t>
            </a:r>
          </a:p>
          <a:p>
            <a:r>
              <a:rPr lang="en-GB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Deposited into oropharynx and swallowed</a:t>
            </a:r>
            <a:endParaRPr lang="en-GB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Left Brace 9"/>
          <p:cNvSpPr/>
          <p:nvPr/>
        </p:nvSpPr>
        <p:spPr>
          <a:xfrm>
            <a:off x="2961815" y="3364662"/>
            <a:ext cx="391886" cy="1341911"/>
          </a:xfrm>
          <a:prstGeom prst="leftBrace">
            <a:avLst/>
          </a:prstGeom>
          <a:ln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74867" y="3697063"/>
            <a:ext cx="238694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1 - 5</a:t>
            </a:r>
            <a:r>
              <a:rPr lang="el-GR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μ</a:t>
            </a:r>
            <a:r>
              <a:rPr lang="en-GB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m sedimentation</a:t>
            </a:r>
          </a:p>
          <a:p>
            <a:r>
              <a:rPr lang="en-GB" sz="12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timal for delivery to the lower airways</a:t>
            </a:r>
            <a:endParaRPr lang="en-GB" sz="12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Left Brace 11"/>
          <p:cNvSpPr/>
          <p:nvPr/>
        </p:nvSpPr>
        <p:spPr>
          <a:xfrm>
            <a:off x="2961815" y="4789698"/>
            <a:ext cx="391886" cy="670955"/>
          </a:xfrm>
          <a:prstGeom prst="leftBrace">
            <a:avLst/>
          </a:prstGeom>
          <a:ln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84767" y="4799463"/>
            <a:ext cx="238694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&lt;0.8 </a:t>
            </a:r>
            <a:r>
              <a:rPr lang="el-GR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μ</a:t>
            </a:r>
            <a:r>
              <a:rPr lang="en-GB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m </a:t>
            </a:r>
          </a:p>
          <a:p>
            <a:r>
              <a:rPr lang="en-GB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Likely to be exhaled by tidal breathing</a:t>
            </a:r>
            <a:endParaRPr lang="en-GB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4" name="Straight Arrow Connector 13"/>
          <p:cNvCxnSpPr/>
          <p:nvPr/>
        </p:nvCxnSpPr>
        <p:spPr>
          <a:xfrm>
            <a:off x="3609436" y="2256749"/>
            <a:ext cx="2257095" cy="0"/>
          </a:xfrm>
          <a:prstGeom prst="straightConnector1">
            <a:avLst/>
          </a:prstGeom>
          <a:ln>
            <a:solidFill>
              <a:schemeClr val="bg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>
            <a:off x="3609436" y="3074731"/>
            <a:ext cx="3207836" cy="0"/>
          </a:xfrm>
          <a:prstGeom prst="straightConnector1">
            <a:avLst/>
          </a:prstGeom>
          <a:ln>
            <a:solidFill>
              <a:schemeClr val="bg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/>
          <p:nvPr/>
        </p:nvCxnSpPr>
        <p:spPr>
          <a:xfrm>
            <a:off x="3609436" y="3582763"/>
            <a:ext cx="3375728" cy="0"/>
          </a:xfrm>
          <a:prstGeom prst="straightConnector1">
            <a:avLst/>
          </a:prstGeom>
          <a:ln>
            <a:solidFill>
              <a:schemeClr val="bg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>
            <a:off x="3609436" y="4168630"/>
            <a:ext cx="3629564" cy="0"/>
          </a:xfrm>
          <a:prstGeom prst="straightConnector1">
            <a:avLst/>
          </a:prstGeom>
          <a:ln>
            <a:solidFill>
              <a:schemeClr val="bg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/>
          <p:nvPr/>
        </p:nvCxnSpPr>
        <p:spPr>
          <a:xfrm>
            <a:off x="3609436" y="4630373"/>
            <a:ext cx="3839114" cy="0"/>
          </a:xfrm>
          <a:prstGeom prst="straightConnector1">
            <a:avLst/>
          </a:prstGeom>
          <a:ln>
            <a:solidFill>
              <a:schemeClr val="bg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/>
          <p:cNvCxnSpPr/>
          <p:nvPr/>
        </p:nvCxnSpPr>
        <p:spPr>
          <a:xfrm>
            <a:off x="3609436" y="5174232"/>
            <a:ext cx="3839114" cy="0"/>
          </a:xfrm>
          <a:prstGeom prst="straightConnector1">
            <a:avLst/>
          </a:prstGeom>
          <a:ln>
            <a:solidFill>
              <a:schemeClr val="bg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763" name="TextBox 74762"/>
          <p:cNvSpPr txBox="1"/>
          <p:nvPr/>
        </p:nvSpPr>
        <p:spPr>
          <a:xfrm>
            <a:off x="3609436" y="2029860"/>
            <a:ext cx="130900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Nasal Cavity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3612974" y="2256691"/>
            <a:ext cx="130900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5.8</a:t>
            </a:r>
            <a:r>
              <a:rPr lang="el-GR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μ</a:t>
            </a:r>
            <a:r>
              <a:rPr lang="en-GB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m – 9.0</a:t>
            </a:r>
            <a:r>
              <a:rPr lang="el-GR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μ</a:t>
            </a:r>
            <a:r>
              <a:rPr lang="en-GB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3612974" y="2852139"/>
            <a:ext cx="130900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Pharynx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3616512" y="3078970"/>
            <a:ext cx="130900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4.7</a:t>
            </a:r>
            <a:r>
              <a:rPr lang="el-GR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μ</a:t>
            </a:r>
            <a:r>
              <a:rPr lang="en-GB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m – 5.8</a:t>
            </a:r>
            <a:r>
              <a:rPr lang="el-GR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μ</a:t>
            </a:r>
            <a:r>
              <a:rPr lang="en-GB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3616511" y="3355428"/>
            <a:ext cx="241835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Trachea &amp; Primary Bronchi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3620050" y="3582259"/>
            <a:ext cx="130900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4.7</a:t>
            </a:r>
            <a:r>
              <a:rPr lang="el-GR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μ</a:t>
            </a:r>
            <a:r>
              <a:rPr lang="en-GB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m – 5.8</a:t>
            </a:r>
            <a:r>
              <a:rPr lang="el-GR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μ</a:t>
            </a:r>
            <a:r>
              <a:rPr lang="en-GB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3630682" y="3922515"/>
            <a:ext cx="241835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Secondary Bronchi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3634221" y="4149346"/>
            <a:ext cx="130900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2.1</a:t>
            </a:r>
            <a:r>
              <a:rPr lang="el-GR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μ</a:t>
            </a:r>
            <a:r>
              <a:rPr lang="en-GB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m – 3.3</a:t>
            </a:r>
            <a:r>
              <a:rPr lang="el-GR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μ</a:t>
            </a:r>
            <a:r>
              <a:rPr lang="en-GB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3634220" y="4415171"/>
            <a:ext cx="241835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Terminal Bronchi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3637759" y="4642002"/>
            <a:ext cx="130900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en-GB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.1</a:t>
            </a:r>
            <a:r>
              <a:rPr lang="el-GR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μ</a:t>
            </a:r>
            <a:r>
              <a:rPr lang="en-GB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m – 2.1</a:t>
            </a:r>
            <a:r>
              <a:rPr lang="el-GR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μ</a:t>
            </a:r>
            <a:r>
              <a:rPr lang="en-GB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3627125" y="4950359"/>
            <a:ext cx="241835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Alveoli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3630664" y="5177190"/>
            <a:ext cx="130900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0.43</a:t>
            </a:r>
            <a:r>
              <a:rPr lang="el-GR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μ</a:t>
            </a:r>
            <a:r>
              <a:rPr lang="en-GB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m – 0.65</a:t>
            </a:r>
            <a:r>
              <a:rPr lang="el-GR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μ</a:t>
            </a:r>
            <a:r>
              <a:rPr lang="en-GB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</a:p>
        </p:txBody>
      </p:sp>
      <p:sp>
        <p:nvSpPr>
          <p:cNvPr id="74764" name="TextBox 74763"/>
          <p:cNvSpPr txBox="1"/>
          <p:nvPr/>
        </p:nvSpPr>
        <p:spPr>
          <a:xfrm>
            <a:off x="2383402" y="5945580"/>
            <a:ext cx="329615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Pharmacotherapy 2010;30(6): 562-584</a:t>
            </a:r>
            <a:endParaRPr lang="en-GB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5263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Commonly Used Medications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57200" y="1600200"/>
            <a:ext cx="7843421" cy="4525963"/>
          </a:xfrm>
        </p:spPr>
        <p:txBody>
          <a:bodyPr>
            <a:normAutofit/>
          </a:bodyPr>
          <a:lstStyle/>
          <a:p>
            <a:r>
              <a:rPr lang="en-US" sz="2000" u="sng" dirty="0" smtClean="0">
                <a:latin typeface="Arial" panose="020B0604020202020204" pitchFamily="34" charset="0"/>
                <a:cs typeface="Arial" panose="020B0604020202020204" pitchFamily="34" charset="0"/>
              </a:rPr>
              <a:t>Albuterol Sulfate</a:t>
            </a:r>
          </a:p>
          <a:p>
            <a:pPr lvl="1"/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Bronchodilator – Relaxes muscles and opens breathing passages in the lungs</a:t>
            </a:r>
          </a:p>
          <a:p>
            <a:pPr lvl="1"/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Used to treat ongoing Asthma attacks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000" u="sng" dirty="0" smtClean="0">
                <a:latin typeface="Arial" panose="020B0604020202020204" pitchFamily="34" charset="0"/>
                <a:cs typeface="Arial" panose="020B0604020202020204" pitchFamily="34" charset="0"/>
              </a:rPr>
              <a:t>Budesonide</a:t>
            </a:r>
          </a:p>
          <a:p>
            <a:pPr lvl="1"/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Steroid - works to prevent and minimize the severity of asthma attacks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000" u="sng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romolyn</a:t>
            </a:r>
            <a:r>
              <a:rPr lang="en-US" sz="2000" u="sng" dirty="0" smtClean="0">
                <a:latin typeface="Arial" panose="020B0604020202020204" pitchFamily="34" charset="0"/>
                <a:cs typeface="Arial" panose="020B0604020202020204" pitchFamily="34" charset="0"/>
              </a:rPr>
              <a:t> Sodium</a:t>
            </a:r>
          </a:p>
          <a:p>
            <a:pPr lvl="1"/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Mast Cell Stabilizer – prevents the release of histamine when patients come in contact with irritants</a:t>
            </a:r>
          </a:p>
          <a:p>
            <a:pPr lvl="1"/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Prevents asthma attacks and bronchospasms that are caused by exercise, pollutants, etc.</a:t>
            </a:r>
          </a:p>
          <a:p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2692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70828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32" r="46602"/>
          <a:stretch/>
        </p:blipFill>
        <p:spPr bwMode="auto">
          <a:xfrm>
            <a:off x="7726680" y="1390676"/>
            <a:ext cx="960120" cy="5124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4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32" r="46602"/>
          <a:stretch/>
        </p:blipFill>
        <p:spPr bwMode="auto">
          <a:xfrm>
            <a:off x="3462655" y="1417638"/>
            <a:ext cx="960120" cy="5124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altLang="hu-HU" smtClean="0">
                <a:latin typeface="Arial" panose="020B0604020202020204" pitchFamily="34" charset="0"/>
                <a:cs typeface="Arial" panose="020B0604020202020204" pitchFamily="34" charset="0"/>
              </a:rPr>
              <a:t>Nebuliser – Type of Nebulizer</a:t>
            </a:r>
            <a:endParaRPr lang="en-US" altLang="hu-HU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267" name="Text Box 15"/>
          <p:cNvSpPr txBox="1">
            <a:spLocks noChangeArrowheads="1"/>
          </p:cNvSpPr>
          <p:nvPr/>
        </p:nvSpPr>
        <p:spPr bwMode="auto">
          <a:xfrm>
            <a:off x="407988" y="1362710"/>
            <a:ext cx="4014787" cy="2031325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  <a:effectLst/>
          <a:extLst/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GE Inspira Pitch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GE Inspira Pitch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GE Inspira Pitch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GE Inspira Pitch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GE Inspira Pitch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GE Inspira Pitch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GE Inspira Pitch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GE Inspira Pitch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GE Inspira Pitch" pitchFamily="34" charset="0"/>
              </a:defRPr>
            </a:lvl9pPr>
          </a:lstStyle>
          <a:p>
            <a:r>
              <a:rPr lang="en-GB" altLang="hu-HU" sz="1400" b="1" dirty="0">
                <a:solidFill>
                  <a:srgbClr val="3C73B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mall Volume </a:t>
            </a:r>
            <a:r>
              <a:rPr lang="en-GB" altLang="hu-HU" sz="1400" b="1" dirty="0" smtClean="0">
                <a:solidFill>
                  <a:srgbClr val="3C73B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buliser</a:t>
            </a:r>
          </a:p>
          <a:p>
            <a:endParaRPr lang="en-GB" altLang="hu-H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altLang="hu-HU" sz="1400" dirty="0">
                <a:latin typeface="Arial" panose="020B0604020202020204" pitchFamily="34" charset="0"/>
                <a:cs typeface="Arial" panose="020B0604020202020204" pitchFamily="34" charset="0"/>
              </a:rPr>
              <a:t>Uses air to pressurize the drugs in the</a:t>
            </a:r>
          </a:p>
          <a:p>
            <a:r>
              <a:rPr lang="en-GB" altLang="hu-HU" sz="1400" dirty="0">
                <a:latin typeface="Arial" panose="020B0604020202020204" pitchFamily="34" charset="0"/>
                <a:cs typeface="Arial" panose="020B0604020202020204" pitchFamily="34" charset="0"/>
              </a:rPr>
              <a:t>Medication cup into small, consistent size.</a:t>
            </a:r>
          </a:p>
          <a:p>
            <a:r>
              <a:rPr lang="en-GB" altLang="hu-HU" sz="1400" dirty="0">
                <a:latin typeface="Arial" panose="020B0604020202020204" pitchFamily="34" charset="0"/>
                <a:cs typeface="Arial" panose="020B0604020202020204" pitchFamily="34" charset="0"/>
              </a:rPr>
              <a:t>MMD – mass median density is usually</a:t>
            </a:r>
          </a:p>
          <a:p>
            <a:r>
              <a:rPr lang="en-GB" altLang="hu-HU" sz="1400" dirty="0">
                <a:latin typeface="Arial" panose="020B0604020202020204" pitchFamily="34" charset="0"/>
                <a:cs typeface="Arial" panose="020B0604020202020204" pitchFamily="34" charset="0"/>
              </a:rPr>
              <a:t>Between 1.5microns to 2.0microns</a:t>
            </a:r>
          </a:p>
          <a:p>
            <a:endParaRPr lang="en-GB" altLang="hu-H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altLang="hu-HU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nefits : Micron size improves the </a:t>
            </a:r>
          </a:p>
          <a:p>
            <a:r>
              <a:rPr lang="en-GB" altLang="hu-HU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ug delivery</a:t>
            </a:r>
            <a:endParaRPr lang="en-US" altLang="hu-HU" sz="14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268" name="Text Box 16"/>
          <p:cNvSpPr txBox="1">
            <a:spLocks noChangeArrowheads="1"/>
          </p:cNvSpPr>
          <p:nvPr/>
        </p:nvSpPr>
        <p:spPr bwMode="auto">
          <a:xfrm>
            <a:off x="407988" y="3596323"/>
            <a:ext cx="4014787" cy="2031325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  <a:effectLst/>
          <a:extLst/>
        </p:spPr>
        <p:txBody>
          <a:bodyPr wrap="square">
            <a:spAutoFit/>
          </a:bodyPr>
          <a:lstStyle>
            <a:lvl1pPr>
              <a:defRPr sz="3200">
                <a:solidFill>
                  <a:schemeClr val="tx1"/>
                </a:solidFill>
                <a:latin typeface="GE Inspira Pitch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GE Inspira Pitch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GE Inspira Pitch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GE Inspira Pitch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GE Inspira Pitch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GE Inspira Pitch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GE Inspira Pitch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GE Inspira Pitch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GE Inspira Pitch" pitchFamily="34" charset="0"/>
              </a:defRPr>
            </a:lvl9pPr>
          </a:lstStyle>
          <a:p>
            <a:r>
              <a:rPr lang="en-GB" altLang="hu-HU" sz="1400" b="1" dirty="0">
                <a:solidFill>
                  <a:srgbClr val="3C73B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rge Volume </a:t>
            </a:r>
            <a:r>
              <a:rPr lang="en-GB" altLang="hu-HU" sz="1400" b="1" dirty="0" smtClean="0">
                <a:solidFill>
                  <a:srgbClr val="3C73B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bulisers</a:t>
            </a:r>
          </a:p>
          <a:p>
            <a:endParaRPr lang="en-GB" altLang="hu-H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altLang="hu-HU" sz="1400" dirty="0">
                <a:latin typeface="Arial" panose="020B0604020202020204" pitchFamily="34" charset="0"/>
                <a:cs typeface="Arial" panose="020B0604020202020204" pitchFamily="34" charset="0"/>
              </a:rPr>
              <a:t>Used to nebulise water into fine mist</a:t>
            </a:r>
          </a:p>
          <a:p>
            <a:r>
              <a:rPr lang="en-GB" altLang="hu-HU" sz="1400" dirty="0">
                <a:latin typeface="Arial" panose="020B0604020202020204" pitchFamily="34" charset="0"/>
                <a:cs typeface="Arial" panose="020B0604020202020204" pitchFamily="34" charset="0"/>
              </a:rPr>
              <a:t>Not used for drug delivery, but aerosolized </a:t>
            </a:r>
          </a:p>
          <a:p>
            <a:r>
              <a:rPr lang="en-GB" altLang="hu-HU" sz="1400" dirty="0">
                <a:latin typeface="Arial" panose="020B0604020202020204" pitchFamily="34" charset="0"/>
                <a:cs typeface="Arial" panose="020B0604020202020204" pitchFamily="34" charset="0"/>
              </a:rPr>
              <a:t>Water supports mild breathing distress for</a:t>
            </a:r>
          </a:p>
          <a:p>
            <a:r>
              <a:rPr lang="en-GB" altLang="hu-HU" sz="1400" dirty="0">
                <a:latin typeface="Arial" panose="020B0604020202020204" pitchFamily="34" charset="0"/>
                <a:cs typeface="Arial" panose="020B0604020202020204" pitchFamily="34" charset="0"/>
              </a:rPr>
              <a:t>Some patients.</a:t>
            </a:r>
          </a:p>
          <a:p>
            <a:endParaRPr lang="en-GB" altLang="hu-HU" sz="14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altLang="hu-HU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nefits: simple, drug free support for </a:t>
            </a:r>
          </a:p>
          <a:p>
            <a:r>
              <a:rPr lang="en-GB" altLang="hu-HU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-acute conditions</a:t>
            </a:r>
            <a:r>
              <a:rPr lang="en-GB" altLang="hu-HU" sz="14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US" altLang="hu-HU" sz="14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269" name="Text Box 17"/>
          <p:cNvSpPr txBox="1">
            <a:spLocks noChangeArrowheads="1"/>
          </p:cNvSpPr>
          <p:nvPr/>
        </p:nvSpPr>
        <p:spPr bwMode="auto">
          <a:xfrm>
            <a:off x="4637723" y="1362710"/>
            <a:ext cx="4064317" cy="2031325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  <a:effectLst/>
          <a:extLst/>
        </p:spPr>
        <p:txBody>
          <a:bodyPr wrap="square">
            <a:spAutoFit/>
          </a:bodyPr>
          <a:lstStyle>
            <a:lvl1pPr>
              <a:defRPr sz="3200">
                <a:solidFill>
                  <a:schemeClr val="tx1"/>
                </a:solidFill>
                <a:latin typeface="GE Inspira Pitch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GE Inspira Pitch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GE Inspira Pitch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GE Inspira Pitch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GE Inspira Pitch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GE Inspira Pitch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GE Inspira Pitch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GE Inspira Pitch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GE Inspira Pitch" pitchFamily="34" charset="0"/>
              </a:defRPr>
            </a:lvl9pPr>
          </a:lstStyle>
          <a:p>
            <a:r>
              <a:rPr lang="en-GB" altLang="hu-HU" sz="1400" b="1" dirty="0">
                <a:solidFill>
                  <a:srgbClr val="3C73B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t Nebulisers </a:t>
            </a:r>
          </a:p>
          <a:p>
            <a:endParaRPr lang="en-GB" altLang="hu-HU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altLang="hu-HU" sz="1400" dirty="0">
                <a:latin typeface="Arial" panose="020B0604020202020204" pitchFamily="34" charset="0"/>
                <a:cs typeface="Arial" panose="020B0604020202020204" pitchFamily="34" charset="0"/>
              </a:rPr>
              <a:t>Acts like a piston forcing air through the </a:t>
            </a:r>
          </a:p>
          <a:p>
            <a:r>
              <a:rPr lang="en-GB" altLang="hu-HU" sz="1400" dirty="0">
                <a:latin typeface="Arial" panose="020B0604020202020204" pitchFamily="34" charset="0"/>
                <a:cs typeface="Arial" panose="020B0604020202020204" pitchFamily="34" charset="0"/>
              </a:rPr>
              <a:t>Medication cup and forcing the  drugs out into</a:t>
            </a:r>
          </a:p>
          <a:p>
            <a:r>
              <a:rPr lang="en-GB" altLang="hu-HU" sz="1400" dirty="0">
                <a:latin typeface="Arial" panose="020B0604020202020204" pitchFamily="34" charset="0"/>
                <a:cs typeface="Arial" panose="020B0604020202020204" pitchFamily="34" charset="0"/>
              </a:rPr>
              <a:t>The mouthpiece like a fine mist.</a:t>
            </a:r>
          </a:p>
          <a:p>
            <a:endParaRPr lang="en-GB" altLang="hu-H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altLang="hu-HU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nefits : size of particles delivered</a:t>
            </a:r>
            <a:r>
              <a:rPr lang="en-GB" altLang="hu-H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endParaRPr lang="en-US" altLang="hu-HU" sz="14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altLang="hu-HU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altLang="hu-H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270" name="Text Box 18"/>
          <p:cNvSpPr txBox="1">
            <a:spLocks noChangeArrowheads="1"/>
          </p:cNvSpPr>
          <p:nvPr/>
        </p:nvSpPr>
        <p:spPr bwMode="auto">
          <a:xfrm>
            <a:off x="4637723" y="3596323"/>
            <a:ext cx="4064317" cy="2031325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  <a:effectLst/>
          <a:extLst/>
        </p:spPr>
        <p:txBody>
          <a:bodyPr wrap="square">
            <a:spAutoFit/>
          </a:bodyPr>
          <a:lstStyle>
            <a:lvl1pPr>
              <a:defRPr sz="3200">
                <a:solidFill>
                  <a:schemeClr val="tx1"/>
                </a:solidFill>
                <a:latin typeface="GE Inspira Pitch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GE Inspira Pitch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GE Inspira Pitch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GE Inspira Pitch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GE Inspira Pitch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GE Inspira Pitch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GE Inspira Pitch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GE Inspira Pitch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GE Inspira Pitch" pitchFamily="34" charset="0"/>
              </a:defRPr>
            </a:lvl9pPr>
          </a:lstStyle>
          <a:p>
            <a:r>
              <a:rPr lang="en-GB" altLang="hu-HU" sz="1400" b="1" dirty="0">
                <a:solidFill>
                  <a:srgbClr val="3C73B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trasonic </a:t>
            </a:r>
            <a:r>
              <a:rPr lang="en-GB" altLang="hu-HU" sz="1400" b="1" dirty="0" smtClean="0">
                <a:solidFill>
                  <a:srgbClr val="3C73B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bulisers</a:t>
            </a:r>
            <a:endParaRPr lang="en-GB" altLang="hu-HU" sz="1400" b="1" dirty="0">
              <a:solidFill>
                <a:srgbClr val="3C73B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altLang="hu-HU" sz="1400" b="1" dirty="0">
              <a:solidFill>
                <a:srgbClr val="3C73B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altLang="hu-HU" sz="1400" dirty="0">
                <a:latin typeface="Arial" panose="020B0604020202020204" pitchFamily="34" charset="0"/>
                <a:cs typeface="Arial" panose="020B0604020202020204" pitchFamily="34" charset="0"/>
              </a:rPr>
              <a:t>Sometimes use water to conduct </a:t>
            </a:r>
            <a:r>
              <a:rPr lang="en-GB" altLang="hu-H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high Frequency </a:t>
            </a:r>
            <a:r>
              <a:rPr lang="en-GB" altLang="hu-HU" sz="1400" dirty="0">
                <a:latin typeface="Arial" panose="020B0604020202020204" pitchFamily="34" charset="0"/>
                <a:cs typeface="Arial" panose="020B0604020202020204" pitchFamily="34" charset="0"/>
              </a:rPr>
              <a:t>vibrations into </a:t>
            </a:r>
            <a:r>
              <a:rPr lang="en-GB" altLang="hu-H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medication Cup </a:t>
            </a:r>
            <a:r>
              <a:rPr lang="en-GB" altLang="hu-HU" sz="1400" dirty="0">
                <a:latin typeface="Arial" panose="020B0604020202020204" pitchFamily="34" charset="0"/>
                <a:cs typeface="Arial" panose="020B0604020202020204" pitchFamily="34" charset="0"/>
              </a:rPr>
              <a:t>which forces drug into a “fog”</a:t>
            </a:r>
          </a:p>
          <a:p>
            <a:endParaRPr lang="en-GB" altLang="hu-H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altLang="hu-HU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nefits: considered to have more </a:t>
            </a:r>
          </a:p>
          <a:p>
            <a:r>
              <a:rPr lang="en-GB" altLang="hu-HU" sz="14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istent particle </a:t>
            </a:r>
            <a:r>
              <a:rPr lang="en-GB" altLang="hu-HU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ze</a:t>
            </a:r>
            <a:r>
              <a:rPr lang="en-GB" altLang="hu-HU" sz="14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….</a:t>
            </a:r>
          </a:p>
          <a:p>
            <a:endParaRPr lang="en-GB" altLang="hu-HU" sz="14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32" r="46602"/>
          <a:stretch/>
        </p:blipFill>
        <p:spPr bwMode="auto">
          <a:xfrm>
            <a:off x="3416935" y="3643047"/>
            <a:ext cx="960120" cy="5124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&quot;No&quot; Symbol 2"/>
          <p:cNvSpPr/>
          <p:nvPr/>
        </p:nvSpPr>
        <p:spPr>
          <a:xfrm>
            <a:off x="8207760" y="3611563"/>
            <a:ext cx="468000" cy="468000"/>
          </a:xfrm>
          <a:prstGeom prst="noSmoking">
            <a:avLst/>
          </a:prstGeom>
          <a:solidFill>
            <a:schemeClr val="accent2"/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407809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ECTIONID" val="gLLkbNYfJYmMS8cGCr6Zqx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zvrdC8eV6YWWfpMhsRT8j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Q5rpkfSAY2XQl9CRvNvPMK"/>
</p:tagLst>
</file>

<file path=ppt/theme/theme1.xml><?xml version="1.0" encoding="utf-8"?>
<a:theme xmlns:a="http://schemas.openxmlformats.org/drawingml/2006/main" name="Vyaire_Powerpoint_4x3_Arial_DarkBlu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Vyaire B">
  <a:themeElements>
    <a:clrScheme name="Vyaire Palette A">
      <a:dk1>
        <a:srgbClr val="0C1525"/>
      </a:dk1>
      <a:lt1>
        <a:sysClr val="window" lastClr="FFFFFF"/>
      </a:lt1>
      <a:dk2>
        <a:srgbClr val="1F497D"/>
      </a:dk2>
      <a:lt2>
        <a:srgbClr val="D0D8E8"/>
      </a:lt2>
      <a:accent1>
        <a:srgbClr val="72B1D4"/>
      </a:accent1>
      <a:accent2>
        <a:srgbClr val="7E7E7E"/>
      </a:accent2>
      <a:accent3>
        <a:srgbClr val="BFBFBF"/>
      </a:accent3>
      <a:accent4>
        <a:srgbClr val="8064A2"/>
      </a:accent4>
      <a:accent5>
        <a:srgbClr val="4BACC6"/>
      </a:accent5>
      <a:accent6>
        <a:srgbClr val="F79646"/>
      </a:accent6>
      <a:hlink>
        <a:srgbClr val="32B0D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Vyaire_Powerpoint_4x3_Arial_DarkBlue</Template>
  <TotalTime>0</TotalTime>
  <Words>2248</Words>
  <Application>Microsoft Office PowerPoint</Application>
  <PresentationFormat>On-screen Show (4:3)</PresentationFormat>
  <Paragraphs>738</Paragraphs>
  <Slides>53</Slides>
  <Notes>15</Notes>
  <HiddenSlides>3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3</vt:i4>
      </vt:variant>
    </vt:vector>
  </HeadingPairs>
  <TitlesOfParts>
    <vt:vector size="60" baseType="lpstr">
      <vt:lpstr>Arial</vt:lpstr>
      <vt:lpstr>Calibri</vt:lpstr>
      <vt:lpstr>Verdana</vt:lpstr>
      <vt:lpstr>Wingdings</vt:lpstr>
      <vt:lpstr>Vyaire_Powerpoint_4x3_Arial_DarkBlue</vt:lpstr>
      <vt:lpstr>Vyaire B</vt:lpstr>
      <vt:lpstr>think-cell Slide</vt:lpstr>
      <vt:lpstr>Medication Delivery</vt:lpstr>
      <vt:lpstr>Agenda </vt:lpstr>
      <vt:lpstr>PowerPoint Presentation</vt:lpstr>
      <vt:lpstr>What is a medication nebulizer?</vt:lpstr>
      <vt:lpstr>Why would somebody need medication delivered via nebulizer?</vt:lpstr>
      <vt:lpstr>How does a nebulizer work?</vt:lpstr>
      <vt:lpstr>A Word on Particle Size</vt:lpstr>
      <vt:lpstr>Commonly Used Medications</vt:lpstr>
      <vt:lpstr>Nebuliser – Type of Nebulizer</vt:lpstr>
      <vt:lpstr>Vyaire - 3 Types of Medication Nebulizers</vt:lpstr>
      <vt:lpstr>Misty Finity® Continuous Nebulizer</vt:lpstr>
      <vt:lpstr>Where are Nebulisers used ?</vt:lpstr>
      <vt:lpstr>PowerPoint Presentation</vt:lpstr>
      <vt:lpstr>Small Volume Nebulizer Setup</vt:lpstr>
      <vt:lpstr>How does a nebulizer work?</vt:lpstr>
      <vt:lpstr>Medication Nebulizer Key Terms</vt:lpstr>
      <vt:lpstr>MMAD – Mass Median Aerodynamic Diameter</vt:lpstr>
      <vt:lpstr>AirLife Medication Delivery Products</vt:lpstr>
      <vt:lpstr>Misty Max 10 Details</vt:lpstr>
      <vt:lpstr>Misty Max 10 Codes</vt:lpstr>
      <vt:lpstr>PowerPoint Presentation</vt:lpstr>
      <vt:lpstr>AirLife Misty Fast Small volume nebulizer</vt:lpstr>
      <vt:lpstr>Misty Fast Details</vt:lpstr>
      <vt:lpstr>What Differences &amp; Similarities do you notice?</vt:lpstr>
      <vt:lpstr>Misty Fast Jet Detail</vt:lpstr>
      <vt:lpstr>What the differences mean</vt:lpstr>
      <vt:lpstr>What the differences mean</vt:lpstr>
      <vt:lpstr>   Watch the Misty Fast in Action</vt:lpstr>
      <vt:lpstr>AirLife Misty Fast small volume nebulizer</vt:lpstr>
      <vt:lpstr>AirLife Medication Delivery Products</vt:lpstr>
      <vt:lpstr>Activity  hands on set up neb flow meter, saline open kits  use them</vt:lpstr>
      <vt:lpstr>Why should a customer convert to Misty Fast?</vt:lpstr>
      <vt:lpstr>Misty Fast Landing Page</vt:lpstr>
      <vt:lpstr>Misty Fast Sales Tools</vt:lpstr>
      <vt:lpstr>AirLife Medication Delivery Products</vt:lpstr>
      <vt:lpstr>Medication Delivery Products</vt:lpstr>
      <vt:lpstr>Appendix</vt:lpstr>
      <vt:lpstr>PowerPoint Presentation</vt:lpstr>
      <vt:lpstr>Standard SVN Competition</vt:lpstr>
      <vt:lpstr>Small Volume Nebulizer - Competition</vt:lpstr>
      <vt:lpstr>Small Volume Nebulizer - Competition</vt:lpstr>
      <vt:lpstr>Small Volume Nebulizer - Competition</vt:lpstr>
      <vt:lpstr>Small Volume Nebulizer - Competition </vt:lpstr>
      <vt:lpstr>High Efficiency Nebulizers</vt:lpstr>
      <vt:lpstr>Aeroneb®</vt:lpstr>
      <vt:lpstr>PowerPoint Presentation</vt:lpstr>
      <vt:lpstr>Small Volume Nebulizer - Competition</vt:lpstr>
      <vt:lpstr>PowerPoint Presentation</vt:lpstr>
      <vt:lpstr>Lung Management Products</vt:lpstr>
      <vt:lpstr>Lung Management Products</vt:lpstr>
      <vt:lpstr>Lung Management Products</vt:lpstr>
      <vt:lpstr>Lung Management Products</vt:lpstr>
      <vt:lpstr>Questions</vt:lpstr>
    </vt:vector>
  </TitlesOfParts>
  <Company>CareFusion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dication Delivery</dc:title>
  <dc:creator>Green, Ben</dc:creator>
  <cp:lastModifiedBy>Hoang-Pfennig, Bach</cp:lastModifiedBy>
  <cp:revision>5</cp:revision>
  <cp:lastPrinted>2016-11-01T11:14:08Z</cp:lastPrinted>
  <dcterms:created xsi:type="dcterms:W3CDTF">2017-10-18T15:51:46Z</dcterms:created>
  <dcterms:modified xsi:type="dcterms:W3CDTF">2017-10-25T11:03:35Z</dcterms:modified>
</cp:coreProperties>
</file>